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84" r:id="rId5"/>
  </p:sldMasterIdLst>
  <p:notesMasterIdLst>
    <p:notesMasterId r:id="rId14"/>
  </p:notesMasterIdLst>
  <p:sldIdLst>
    <p:sldId id="274" r:id="rId6"/>
    <p:sldId id="256" r:id="rId7"/>
    <p:sldId id="275" r:id="rId8"/>
    <p:sldId id="359" r:id="rId9"/>
    <p:sldId id="360" r:id="rId10"/>
    <p:sldId id="361" r:id="rId11"/>
    <p:sldId id="362" r:id="rId12"/>
    <p:sldId id="263" r:id="rId13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EDB46A-7AD6-45A2-8857-D37592608C50}" v="206" dt="2022-05-10T13:41:53.9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 snapToGrid="0" showGuides="1">
      <p:cViewPr varScale="1">
        <p:scale>
          <a:sx n="117" d="100"/>
          <a:sy n="117" d="100"/>
        </p:scale>
        <p:origin x="106" y="283"/>
      </p:cViewPr>
      <p:guideLst>
        <p:guide orient="horz" pos="213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rno Sprengers" userId="b3633e5d-240f-4d61-ba25-be96d5f05fd0" providerId="ADAL" clId="{64EDB46A-7AD6-45A2-8857-D37592608C50}"/>
    <pc:docChg chg="undo custSel addSld delSld modSld sldOrd addMainMaster modMainMaster">
      <pc:chgData name="Arno Sprengers" userId="b3633e5d-240f-4d61-ba25-be96d5f05fd0" providerId="ADAL" clId="{64EDB46A-7AD6-45A2-8857-D37592608C50}" dt="2022-05-10T13:41:53.949" v="1486"/>
      <pc:docMkLst>
        <pc:docMk/>
      </pc:docMkLst>
      <pc:sldChg chg="ord">
        <pc:chgData name="Arno Sprengers" userId="b3633e5d-240f-4d61-ba25-be96d5f05fd0" providerId="ADAL" clId="{64EDB46A-7AD6-45A2-8857-D37592608C50}" dt="2022-05-08T19:08:08.400" v="835"/>
        <pc:sldMkLst>
          <pc:docMk/>
          <pc:sldMk cId="2274612675" sldId="256"/>
        </pc:sldMkLst>
      </pc:sldChg>
      <pc:sldChg chg="modSp mod">
        <pc:chgData name="Arno Sprengers" userId="b3633e5d-240f-4d61-ba25-be96d5f05fd0" providerId="ADAL" clId="{64EDB46A-7AD6-45A2-8857-D37592608C50}" dt="2022-04-15T15:41:11.552" v="99" actId="207"/>
        <pc:sldMkLst>
          <pc:docMk/>
          <pc:sldMk cId="3150504194" sldId="258"/>
        </pc:sldMkLst>
        <pc:spChg chg="mod">
          <ac:chgData name="Arno Sprengers" userId="b3633e5d-240f-4d61-ba25-be96d5f05fd0" providerId="ADAL" clId="{64EDB46A-7AD6-45A2-8857-D37592608C50}" dt="2022-04-15T15:41:11.552" v="99" actId="207"/>
          <ac:spMkLst>
            <pc:docMk/>
            <pc:sldMk cId="3150504194" sldId="258"/>
            <ac:spMk id="6" creationId="{01202F8F-E5CF-43B9-B5A6-FB805D7DE11E}"/>
          </ac:spMkLst>
        </pc:spChg>
        <pc:cxnChg chg="mod">
          <ac:chgData name="Arno Sprengers" userId="b3633e5d-240f-4d61-ba25-be96d5f05fd0" providerId="ADAL" clId="{64EDB46A-7AD6-45A2-8857-D37592608C50}" dt="2022-04-15T15:35:40.277" v="88" actId="14100"/>
          <ac:cxnSpMkLst>
            <pc:docMk/>
            <pc:sldMk cId="3150504194" sldId="258"/>
            <ac:cxnSpMk id="9" creationId="{83B6B3EA-D689-4697-96E1-161F665EAED5}"/>
          </ac:cxnSpMkLst>
        </pc:cxnChg>
      </pc:sldChg>
      <pc:sldChg chg="addSp delSp modSp mod">
        <pc:chgData name="Arno Sprengers" userId="b3633e5d-240f-4d61-ba25-be96d5f05fd0" providerId="ADAL" clId="{64EDB46A-7AD6-45A2-8857-D37592608C50}" dt="2022-05-10T13:06:35.020" v="1455" actId="22"/>
        <pc:sldMkLst>
          <pc:docMk/>
          <pc:sldMk cId="2727067895" sldId="259"/>
        </pc:sldMkLst>
        <pc:spChg chg="mod">
          <ac:chgData name="Arno Sprengers" userId="b3633e5d-240f-4d61-ba25-be96d5f05fd0" providerId="ADAL" clId="{64EDB46A-7AD6-45A2-8857-D37592608C50}" dt="2022-04-15T15:41:49.458" v="104" actId="14100"/>
          <ac:spMkLst>
            <pc:docMk/>
            <pc:sldMk cId="2727067895" sldId="259"/>
            <ac:spMk id="6" creationId="{01202F8F-E5CF-43B9-B5A6-FB805D7DE11E}"/>
          </ac:spMkLst>
        </pc:spChg>
        <pc:spChg chg="add del">
          <ac:chgData name="Arno Sprengers" userId="b3633e5d-240f-4d61-ba25-be96d5f05fd0" providerId="ADAL" clId="{64EDB46A-7AD6-45A2-8857-D37592608C50}" dt="2022-05-10T13:06:35.020" v="1455" actId="22"/>
          <ac:spMkLst>
            <pc:docMk/>
            <pc:sldMk cId="2727067895" sldId="259"/>
            <ac:spMk id="8" creationId="{CBCD1C26-BFED-448F-9C42-B79688BF6EC9}"/>
          </ac:spMkLst>
        </pc:spChg>
      </pc:sldChg>
      <pc:sldChg chg="modSp mod">
        <pc:chgData name="Arno Sprengers" userId="b3633e5d-240f-4d61-ba25-be96d5f05fd0" providerId="ADAL" clId="{64EDB46A-7AD6-45A2-8857-D37592608C50}" dt="2022-04-15T16:29:20.659" v="109" actId="14100"/>
        <pc:sldMkLst>
          <pc:docMk/>
          <pc:sldMk cId="3289162447" sldId="260"/>
        </pc:sldMkLst>
        <pc:spChg chg="mod">
          <ac:chgData name="Arno Sprengers" userId="b3633e5d-240f-4d61-ba25-be96d5f05fd0" providerId="ADAL" clId="{64EDB46A-7AD6-45A2-8857-D37592608C50}" dt="2022-04-15T16:29:20.659" v="109" actId="14100"/>
          <ac:spMkLst>
            <pc:docMk/>
            <pc:sldMk cId="3289162447" sldId="260"/>
            <ac:spMk id="6" creationId="{01202F8F-E5CF-43B9-B5A6-FB805D7DE11E}"/>
          </ac:spMkLst>
        </pc:spChg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2374630122" sldId="261"/>
        </pc:sldMkLst>
      </pc:sldChg>
      <pc:sldChg chg="modSp del mod">
        <pc:chgData name="Arno Sprengers" userId="b3633e5d-240f-4d61-ba25-be96d5f05fd0" providerId="ADAL" clId="{64EDB46A-7AD6-45A2-8857-D37592608C50}" dt="2022-05-10T09:20:32.997" v="1323" actId="47"/>
        <pc:sldMkLst>
          <pc:docMk/>
          <pc:sldMk cId="3074701936" sldId="261"/>
        </pc:sldMkLst>
        <pc:spChg chg="mod">
          <ac:chgData name="Arno Sprengers" userId="b3633e5d-240f-4d61-ba25-be96d5f05fd0" providerId="ADAL" clId="{64EDB46A-7AD6-45A2-8857-D37592608C50}" dt="2022-04-15T16:30:02.904" v="114" actId="14100"/>
          <ac:spMkLst>
            <pc:docMk/>
            <pc:sldMk cId="3074701936" sldId="261"/>
            <ac:spMk id="6" creationId="{01202F8F-E5CF-43B9-B5A6-FB805D7DE11E}"/>
          </ac:spMkLst>
        </pc:spChg>
      </pc:sldChg>
      <pc:sldChg chg="modSp mod">
        <pc:chgData name="Arno Sprengers" userId="b3633e5d-240f-4d61-ba25-be96d5f05fd0" providerId="ADAL" clId="{64EDB46A-7AD6-45A2-8857-D37592608C50}" dt="2022-04-15T16:30:27.799" v="119" actId="14100"/>
        <pc:sldMkLst>
          <pc:docMk/>
          <pc:sldMk cId="710274339" sldId="262"/>
        </pc:sldMkLst>
        <pc:spChg chg="mod">
          <ac:chgData name="Arno Sprengers" userId="b3633e5d-240f-4d61-ba25-be96d5f05fd0" providerId="ADAL" clId="{64EDB46A-7AD6-45A2-8857-D37592608C50}" dt="2022-04-15T16:30:27.799" v="119" actId="14100"/>
          <ac:spMkLst>
            <pc:docMk/>
            <pc:sldMk cId="710274339" sldId="262"/>
            <ac:spMk id="6" creationId="{01202F8F-E5CF-43B9-B5A6-FB805D7DE11E}"/>
          </ac:spMkLst>
        </pc:spChg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4116191694" sldId="264"/>
        </pc:sldMkLst>
      </pc:sldChg>
      <pc:sldChg chg="new del">
        <pc:chgData name="Arno Sprengers" userId="b3633e5d-240f-4d61-ba25-be96d5f05fd0" providerId="ADAL" clId="{64EDB46A-7AD6-45A2-8857-D37592608C50}" dt="2022-05-09T04:52:03.895" v="1322" actId="2696"/>
        <pc:sldMkLst>
          <pc:docMk/>
          <pc:sldMk cId="4263741803" sldId="264"/>
        </pc:sldMkLst>
      </pc:sldChg>
      <pc:sldChg chg="new del">
        <pc:chgData name="Arno Sprengers" userId="b3633e5d-240f-4d61-ba25-be96d5f05fd0" providerId="ADAL" clId="{64EDB46A-7AD6-45A2-8857-D37592608C50}" dt="2022-05-09T04:51:53.851" v="1321" actId="2696"/>
        <pc:sldMkLst>
          <pc:docMk/>
          <pc:sldMk cId="378446840" sldId="265"/>
        </pc:sldMkLst>
      </pc:sldChg>
      <pc:sldChg chg="addSp delSp modSp new del mod modAnim">
        <pc:chgData name="Arno Sprengers" userId="b3633e5d-240f-4d61-ba25-be96d5f05fd0" providerId="ADAL" clId="{64EDB46A-7AD6-45A2-8857-D37592608C50}" dt="2022-05-10T09:20:32.997" v="1323" actId="47"/>
        <pc:sldMkLst>
          <pc:docMk/>
          <pc:sldMk cId="555742741" sldId="266"/>
        </pc:sldMkLst>
        <pc:spChg chg="mod">
          <ac:chgData name="Arno Sprengers" userId="b3633e5d-240f-4d61-ba25-be96d5f05fd0" providerId="ADAL" clId="{64EDB46A-7AD6-45A2-8857-D37592608C50}" dt="2022-04-15T16:42:04.533" v="267" actId="20577"/>
          <ac:spMkLst>
            <pc:docMk/>
            <pc:sldMk cId="555742741" sldId="266"/>
            <ac:spMk id="2" creationId="{B47A4ED5-9008-415B-836C-830FAA0BFB97}"/>
          </ac:spMkLst>
        </pc:spChg>
        <pc:spChg chg="del">
          <ac:chgData name="Arno Sprengers" userId="b3633e5d-240f-4d61-ba25-be96d5f05fd0" providerId="ADAL" clId="{64EDB46A-7AD6-45A2-8857-D37592608C50}" dt="2022-04-15T16:41:16.060" v="200" actId="478"/>
          <ac:spMkLst>
            <pc:docMk/>
            <pc:sldMk cId="555742741" sldId="266"/>
            <ac:spMk id="3" creationId="{A56DD3EB-FCBC-418B-92A8-345179F0D5A0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5" creationId="{6AE467D8-F269-4F5E-98EC-83AFEF2269F2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6" creationId="{5826C7C5-BB79-4C84-9CEC-58958B70B045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7" creationId="{4D23A49D-EFA7-44E6-BAA2-AB3244918553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8" creationId="{7C0BB377-1BB9-4ACA-8289-433D0DF175C3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9" creationId="{C6E68F8A-ADA2-446E-A75F-184DE6DB4F20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10" creationId="{8748C699-1458-4C7D-811F-B8EEC2675365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11" creationId="{9E4DABE2-94F3-4E63-AF79-93E513CEE1DA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12" creationId="{150CC52F-A42D-42DF-871B-13D77D75CDE5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13" creationId="{98F9048C-60D2-42E9-98BF-066A0866E7B9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14" creationId="{C3A8B00D-41B5-4A76-9952-50CA3F08BCD8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15" creationId="{DE340274-7304-4765-B91E-D64B27637734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16" creationId="{75DAADBE-F0A3-41EC-8C32-381750A5C285}"/>
          </ac:spMkLst>
        </pc:spChg>
        <pc:spChg chg="add mod">
          <ac:chgData name="Arno Sprengers" userId="b3633e5d-240f-4d61-ba25-be96d5f05fd0" providerId="ADAL" clId="{64EDB46A-7AD6-45A2-8857-D37592608C50}" dt="2022-04-15T16:41:32.305" v="232" actId="1036"/>
          <ac:spMkLst>
            <pc:docMk/>
            <pc:sldMk cId="555742741" sldId="266"/>
            <ac:spMk id="17" creationId="{92188BE5-83ED-4FD9-AC4A-48F177C9027F}"/>
          </ac:spMkLst>
        </pc:spChg>
        <pc:spChg chg="add mod">
          <ac:chgData name="Arno Sprengers" userId="b3633e5d-240f-4d61-ba25-be96d5f05fd0" providerId="ADAL" clId="{64EDB46A-7AD6-45A2-8857-D37592608C50}" dt="2022-04-15T16:44:24.423" v="292" actId="20577"/>
          <ac:spMkLst>
            <pc:docMk/>
            <pc:sldMk cId="555742741" sldId="266"/>
            <ac:spMk id="18" creationId="{AD58DFC9-A848-4B83-B0DD-AD53D4093C0A}"/>
          </ac:spMkLst>
        </pc:spChg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2572971581" sldId="266"/>
        </pc:sldMkLst>
      </pc:sldChg>
      <pc:sldChg chg="addSp delSp modSp new mod delAnim modAnim">
        <pc:chgData name="Arno Sprengers" userId="b3633e5d-240f-4d61-ba25-be96d5f05fd0" providerId="ADAL" clId="{64EDB46A-7AD6-45A2-8857-D37592608C50}" dt="2022-04-15T16:39:18.832" v="197" actId="1582"/>
        <pc:sldMkLst>
          <pc:docMk/>
          <pc:sldMk cId="1272292049" sldId="267"/>
        </pc:sldMkLst>
        <pc:spChg chg="mod">
          <ac:chgData name="Arno Sprengers" userId="b3633e5d-240f-4d61-ba25-be96d5f05fd0" providerId="ADAL" clId="{64EDB46A-7AD6-45A2-8857-D37592608C50}" dt="2022-04-15T16:33:08.650" v="148" actId="20577"/>
          <ac:spMkLst>
            <pc:docMk/>
            <pc:sldMk cId="1272292049" sldId="267"/>
            <ac:spMk id="2" creationId="{61189BB3-043E-45A2-9C2D-7F0089F73533}"/>
          </ac:spMkLst>
        </pc:spChg>
        <pc:spChg chg="del">
          <ac:chgData name="Arno Sprengers" userId="b3633e5d-240f-4d61-ba25-be96d5f05fd0" providerId="ADAL" clId="{64EDB46A-7AD6-45A2-8857-D37592608C50}" dt="2022-04-15T16:33:17.656" v="149" actId="478"/>
          <ac:spMkLst>
            <pc:docMk/>
            <pc:sldMk cId="1272292049" sldId="267"/>
            <ac:spMk id="3" creationId="{79ADE981-2547-49F9-9DD3-3B06E29F3403}"/>
          </ac:spMkLst>
        </pc:spChg>
        <pc:picChg chg="add del mod">
          <ac:chgData name="Arno Sprengers" userId="b3633e5d-240f-4d61-ba25-be96d5f05fd0" providerId="ADAL" clId="{64EDB46A-7AD6-45A2-8857-D37592608C50}" dt="2022-04-15T16:35:45.984" v="154" actId="478"/>
          <ac:picMkLst>
            <pc:docMk/>
            <pc:sldMk cId="1272292049" sldId="267"/>
            <ac:picMk id="6" creationId="{BD358C44-19CE-4D67-BCC0-89C8AC5638A7}"/>
          </ac:picMkLst>
        </pc:picChg>
        <pc:picChg chg="add del mod">
          <ac:chgData name="Arno Sprengers" userId="b3633e5d-240f-4d61-ba25-be96d5f05fd0" providerId="ADAL" clId="{64EDB46A-7AD6-45A2-8857-D37592608C50}" dt="2022-04-15T16:35:16.605" v="152" actId="478"/>
          <ac:picMkLst>
            <pc:docMk/>
            <pc:sldMk cId="1272292049" sldId="267"/>
            <ac:picMk id="8" creationId="{6AD71B77-1CBA-4BC8-98C2-BF9A7973AF43}"/>
          </ac:picMkLst>
        </pc:picChg>
        <pc:picChg chg="add mod">
          <ac:chgData name="Arno Sprengers" userId="b3633e5d-240f-4d61-ba25-be96d5f05fd0" providerId="ADAL" clId="{64EDB46A-7AD6-45A2-8857-D37592608C50}" dt="2022-04-15T16:36:50.161" v="164" actId="1076"/>
          <ac:picMkLst>
            <pc:docMk/>
            <pc:sldMk cId="1272292049" sldId="267"/>
            <ac:picMk id="10" creationId="{3231E817-6587-4C79-9235-7152A3C3F4DF}"/>
          </ac:picMkLst>
        </pc:picChg>
        <pc:picChg chg="add mod">
          <ac:chgData name="Arno Sprengers" userId="b3633e5d-240f-4d61-ba25-be96d5f05fd0" providerId="ADAL" clId="{64EDB46A-7AD6-45A2-8857-D37592608C50}" dt="2022-04-15T16:39:18.832" v="197" actId="1582"/>
          <ac:picMkLst>
            <pc:docMk/>
            <pc:sldMk cId="1272292049" sldId="267"/>
            <ac:picMk id="12" creationId="{DAD37AD2-791F-4E97-ABB9-03734F43806B}"/>
          </ac:picMkLst>
        </pc:picChg>
        <pc:picChg chg="add mod ord">
          <ac:chgData name="Arno Sprengers" userId="b3633e5d-240f-4d61-ba25-be96d5f05fd0" providerId="ADAL" clId="{64EDB46A-7AD6-45A2-8857-D37592608C50}" dt="2022-04-15T16:38:18.056" v="194" actId="207"/>
          <ac:picMkLst>
            <pc:docMk/>
            <pc:sldMk cId="1272292049" sldId="267"/>
            <ac:picMk id="14" creationId="{D9AC4DB7-F68E-4C5F-BCD7-7BB6E29229FF}"/>
          </ac:picMkLst>
        </pc:picChg>
      </pc:sldChg>
      <pc:sldChg chg="new">
        <pc:chgData name="Arno Sprengers" userId="b3633e5d-240f-4d61-ba25-be96d5f05fd0" providerId="ADAL" clId="{64EDB46A-7AD6-45A2-8857-D37592608C50}" dt="2022-04-15T16:39:49.930" v="198" actId="680"/>
        <pc:sldMkLst>
          <pc:docMk/>
          <pc:sldMk cId="135928992" sldId="268"/>
        </pc:sldMkLst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1269245877" sldId="269"/>
        </pc:sldMkLst>
      </pc:sldChg>
      <pc:sldChg chg="new">
        <pc:chgData name="Arno Sprengers" userId="b3633e5d-240f-4d61-ba25-be96d5f05fd0" providerId="ADAL" clId="{64EDB46A-7AD6-45A2-8857-D37592608C50}" dt="2022-04-15T16:40:07.597" v="199" actId="680"/>
        <pc:sldMkLst>
          <pc:docMk/>
          <pc:sldMk cId="3131062446" sldId="269"/>
        </pc:sldMkLst>
      </pc:sldChg>
      <pc:sldChg chg="addSp delSp modSp new del mod ord">
        <pc:chgData name="Arno Sprengers" userId="b3633e5d-240f-4d61-ba25-be96d5f05fd0" providerId="ADAL" clId="{64EDB46A-7AD6-45A2-8857-D37592608C50}" dt="2022-05-10T09:20:32.997" v="1323" actId="47"/>
        <pc:sldMkLst>
          <pc:docMk/>
          <pc:sldMk cId="1429695233" sldId="270"/>
        </pc:sldMkLst>
        <pc:spChg chg="mod">
          <ac:chgData name="Arno Sprengers" userId="b3633e5d-240f-4d61-ba25-be96d5f05fd0" providerId="ADAL" clId="{64EDB46A-7AD6-45A2-8857-D37592608C50}" dt="2022-04-28T07:00:55.199" v="345" actId="20577"/>
          <ac:spMkLst>
            <pc:docMk/>
            <pc:sldMk cId="1429695233" sldId="270"/>
            <ac:spMk id="2" creationId="{B60E5E32-2DE2-489C-9373-353DFA2A45DE}"/>
          </ac:spMkLst>
        </pc:spChg>
        <pc:spChg chg="del">
          <ac:chgData name="Arno Sprengers" userId="b3633e5d-240f-4d61-ba25-be96d5f05fd0" providerId="ADAL" clId="{64EDB46A-7AD6-45A2-8857-D37592608C50}" dt="2022-04-28T06:56:52.326" v="324" actId="478"/>
          <ac:spMkLst>
            <pc:docMk/>
            <pc:sldMk cId="1429695233" sldId="270"/>
            <ac:spMk id="3" creationId="{1F02CB5C-EF7A-49EC-8D99-F0562827986E}"/>
          </ac:spMkLst>
        </pc:spChg>
        <pc:spChg chg="add mod">
          <ac:chgData name="Arno Sprengers" userId="b3633e5d-240f-4d61-ba25-be96d5f05fd0" providerId="ADAL" clId="{64EDB46A-7AD6-45A2-8857-D37592608C50}" dt="2022-04-28T08:11:15.637" v="831" actId="20577"/>
          <ac:spMkLst>
            <pc:docMk/>
            <pc:sldMk cId="1429695233" sldId="270"/>
            <ac:spMk id="7" creationId="{C39BCEF9-04C2-44FD-84FC-8FC14E17D027}"/>
          </ac:spMkLst>
        </pc:spChg>
        <pc:cxnChg chg="add mod">
          <ac:chgData name="Arno Sprengers" userId="b3633e5d-240f-4d61-ba25-be96d5f05fd0" providerId="ADAL" clId="{64EDB46A-7AD6-45A2-8857-D37592608C50}" dt="2022-04-28T06:56:48.498" v="323"/>
          <ac:cxnSpMkLst>
            <pc:docMk/>
            <pc:sldMk cId="1429695233" sldId="270"/>
            <ac:cxnSpMk id="5" creationId="{057A9CC3-C4B7-4A96-A136-04E54E5A160C}"/>
          </ac:cxnSpMkLst>
        </pc:cxnChg>
        <pc:cxnChg chg="add del mod">
          <ac:chgData name="Arno Sprengers" userId="b3633e5d-240f-4d61-ba25-be96d5f05fd0" providerId="ADAL" clId="{64EDB46A-7AD6-45A2-8857-D37592608C50}" dt="2022-04-28T06:57:35.879" v="326"/>
          <ac:cxnSpMkLst>
            <pc:docMk/>
            <pc:sldMk cId="1429695233" sldId="270"/>
            <ac:cxnSpMk id="6" creationId="{FCB6922F-EE5D-4E65-B1FD-2D25A60D62CB}"/>
          </ac:cxnSpMkLst>
        </pc:cxnChg>
      </pc:sldChg>
      <pc:sldChg chg="addSp delSp modSp new del mod modClrScheme modAnim chgLayout">
        <pc:chgData name="Arno Sprengers" userId="b3633e5d-240f-4d61-ba25-be96d5f05fd0" providerId="ADAL" clId="{64EDB46A-7AD6-45A2-8857-D37592608C50}" dt="2022-05-10T09:20:32.997" v="1323" actId="47"/>
        <pc:sldMkLst>
          <pc:docMk/>
          <pc:sldMk cId="3385871984" sldId="271"/>
        </pc:sldMkLst>
        <pc:spChg chg="del">
          <ac:chgData name="Arno Sprengers" userId="b3633e5d-240f-4d61-ba25-be96d5f05fd0" providerId="ADAL" clId="{64EDB46A-7AD6-45A2-8857-D37592608C50}" dt="2022-04-15T16:48:26.717" v="320" actId="700"/>
          <ac:spMkLst>
            <pc:docMk/>
            <pc:sldMk cId="3385871984" sldId="271"/>
            <ac:spMk id="2" creationId="{752786CE-AC30-48FB-9B12-E0E35E58494B}"/>
          </ac:spMkLst>
        </pc:spChg>
        <pc:spChg chg="del mod">
          <ac:chgData name="Arno Sprengers" userId="b3633e5d-240f-4d61-ba25-be96d5f05fd0" providerId="ADAL" clId="{64EDB46A-7AD6-45A2-8857-D37592608C50}" dt="2022-04-15T16:47:51.508" v="296" actId="478"/>
          <ac:spMkLst>
            <pc:docMk/>
            <pc:sldMk cId="3385871984" sldId="271"/>
            <ac:spMk id="3" creationId="{71692870-7DBD-4BF3-9C03-F35E6DE1D3B0}"/>
          </ac:spMkLst>
        </pc:spChg>
        <pc:spChg chg="mod ord">
          <ac:chgData name="Arno Sprengers" userId="b3633e5d-240f-4d61-ba25-be96d5f05fd0" providerId="ADAL" clId="{64EDB46A-7AD6-45A2-8857-D37592608C50}" dt="2022-04-15T16:48:26.717" v="320" actId="700"/>
          <ac:spMkLst>
            <pc:docMk/>
            <pc:sldMk cId="3385871984" sldId="271"/>
            <ac:spMk id="4" creationId="{AF968F99-E4C5-4E5B-B04F-BBF7733911FD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5" creationId="{359FAFA7-C978-458A-B73E-7B2875D9AEF8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6" creationId="{DFA4871C-AD9A-44C5-A0FE-E42776BA0A82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7" creationId="{5EB3115F-1217-49A6-A314-CD68D7C3C347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8" creationId="{64733F9B-4642-453B-9BAB-21260C7805CD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14" creationId="{1D0E5863-556C-43D3-8F76-0FA01FEBC733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15" creationId="{28E0F959-D1F0-42E4-813B-80CB860B235D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16" creationId="{F92337A6-77C6-4AEF-8E68-29C7EB0CB038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19" creationId="{45B2A49B-F18B-48F6-87E7-3D4BF791DE8C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20" creationId="{B69FCED8-FA39-4590-A880-B5C27B74996F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23" creationId="{A2E9E06C-51D7-4933-B6ED-A6BEEC803F4C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24" creationId="{7B4FFD6B-742F-406B-90B5-B2ACB176CE8D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25" creationId="{5BCEE3C2-D3B8-4FDD-8EC4-6B92396F183C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27" creationId="{4B753724-0351-4E17-AFDC-E64290CFC64A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28" creationId="{DABCC45F-7C11-427F-9FD2-5A416C39D7E7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36" creationId="{CD8A3CA0-D785-42DE-B8A3-B89B845EE9ED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37" creationId="{F3E9C862-CDC1-4A98-8927-4089F60ADFA2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38" creationId="{2EA6B731-1C56-4683-AD8D-83599AC1376A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39" creationId="{E0DF6490-0973-4CAC-966E-C10C505F7231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44" creationId="{62E9A2CA-FD79-4755-92B1-12F4A166E0B3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45" creationId="{8239E0C6-E1B3-4FDD-9B5B-93B4151CF7A3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46" creationId="{565D8641-0DD6-4994-BD0A-4EA4B049802C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47" creationId="{4BA46F53-5FD6-4472-9860-C4B618474A50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48" creationId="{7AB093B0-C325-428B-A691-6E3E49198AA9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53" creationId="{70795085-6E75-4CEA-8823-A8FE07810795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54" creationId="{2488CF5D-1CFD-4AC0-9EE1-72A826FB9C60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55" creationId="{8BBE68D3-79DD-4B87-84F5-EF106D2CC938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56" creationId="{69D167DD-374C-43F3-A28D-F5F881AE21DD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57" creationId="{D0700DCB-C419-4FEE-8476-28A3B8CEB497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58" creationId="{908B6EBF-5BA4-4429-BBA7-3BBFFC31CA7B}"/>
          </ac:spMkLst>
        </pc:spChg>
        <pc:spChg chg="add mod">
          <ac:chgData name="Arno Sprengers" userId="b3633e5d-240f-4d61-ba25-be96d5f05fd0" providerId="ADAL" clId="{64EDB46A-7AD6-45A2-8857-D37592608C50}" dt="2022-04-15T16:48:10.819" v="319" actId="1036"/>
          <ac:spMkLst>
            <pc:docMk/>
            <pc:sldMk cId="3385871984" sldId="271"/>
            <ac:spMk id="60" creationId="{26A304B4-6AF3-4746-9B0A-0C9A7B7013C3}"/>
          </ac:spMkLst>
        </pc:sp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9" creationId="{8FBA338B-8B82-4309-8559-89881E4C0A51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10" creationId="{3F15F5DC-08DB-48E8-8FA0-5CFD7EBB9761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11" creationId="{32BD7C08-DBA3-42E2-9379-2F11937F06E4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12" creationId="{7422D024-77C1-4C0D-9F07-66667DD39DDA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13" creationId="{012CDBE6-2155-4231-951C-0AB5943F69A3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18" creationId="{68D527A0-5E3A-4247-9E5C-2D934DA4B52E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30" creationId="{B1AB76F1-B37B-4417-862A-84D5C8BB7C98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31" creationId="{9EDC2909-3C62-4643-8259-00CEAE486B89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32" creationId="{93535021-0FF5-4AE9-8F8F-C2E9487D55E8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33" creationId="{EB91B8B8-01BB-4D1B-9D5B-1146D5DFF733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34" creationId="{CCFB22AE-DBC0-487E-BC14-F5CA6FF39712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49" creationId="{E02A43F0-BF1B-4844-9221-9BBD8660CD67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50" creationId="{B5835E46-DAFA-45A6-AFA3-E7053BF20C73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51" creationId="{73C62B64-66EA-480A-997D-AEDDE9F7110E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52" creationId="{2F528080-940D-4FDE-A13D-226D5C907865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59" creationId="{B6B7C024-CA53-4822-B571-F3FEB6CA3D43}"/>
          </ac:picMkLst>
        </pc:picChg>
        <pc:picChg chg="add mod">
          <ac:chgData name="Arno Sprengers" userId="b3633e5d-240f-4d61-ba25-be96d5f05fd0" providerId="ADAL" clId="{64EDB46A-7AD6-45A2-8857-D37592608C50}" dt="2022-04-15T16:48:10.819" v="319" actId="1036"/>
          <ac:picMkLst>
            <pc:docMk/>
            <pc:sldMk cId="3385871984" sldId="271"/>
            <ac:picMk id="61" creationId="{B1AC8B38-DAE3-484E-8B29-CF667761B528}"/>
          </ac:picMkLst>
        </pc:pic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17" creationId="{761EA7AF-D9B5-4512-881A-135BF88F1482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21" creationId="{FAEDB833-79A5-4B99-8C81-0049D402908B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22" creationId="{877F53E9-1372-454C-A289-86BD8C37C570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26" creationId="{80810219-39EB-4FDC-B0D0-34ACEB69B091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29" creationId="{47F3E3B7-B45F-4E99-85C3-F09BF0E12D60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35" creationId="{08C11524-822E-43D6-8D09-6293E637C2AF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40" creationId="{07B6C41B-CCE2-4F92-8F69-65B5B2FD9A55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41" creationId="{92DCA335-416A-450C-8684-1A19A2012E3E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42" creationId="{C40D6C6F-387F-41A8-A5A8-D53821E64A39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43" creationId="{2BDFB259-F4ED-4224-A9DA-4D6216949DD8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62" creationId="{2EC41250-F2CD-4A26-881D-F0B1A93C57CA}"/>
          </ac:cxnSpMkLst>
        </pc:cxnChg>
        <pc:cxnChg chg="add mod">
          <ac:chgData name="Arno Sprengers" userId="b3633e5d-240f-4d61-ba25-be96d5f05fd0" providerId="ADAL" clId="{64EDB46A-7AD6-45A2-8857-D37592608C50}" dt="2022-04-15T16:48:10.819" v="319" actId="1036"/>
          <ac:cxnSpMkLst>
            <pc:docMk/>
            <pc:sldMk cId="3385871984" sldId="271"/>
            <ac:cxnSpMk id="63" creationId="{54729778-65A7-4786-83BD-28074667AEC3}"/>
          </ac:cxnSpMkLst>
        </pc:cxnChg>
      </pc:sldChg>
      <pc:sldChg chg="addSp delSp modSp new mod">
        <pc:chgData name="Arno Sprengers" userId="b3633e5d-240f-4d61-ba25-be96d5f05fd0" providerId="ADAL" clId="{64EDB46A-7AD6-45A2-8857-D37592608C50}" dt="2022-05-08T19:41:52.701" v="1313" actId="1076"/>
        <pc:sldMkLst>
          <pc:docMk/>
          <pc:sldMk cId="4041653533" sldId="275"/>
        </pc:sldMkLst>
        <pc:spChg chg="del">
          <ac:chgData name="Arno Sprengers" userId="b3633e5d-240f-4d61-ba25-be96d5f05fd0" providerId="ADAL" clId="{64EDB46A-7AD6-45A2-8857-D37592608C50}" dt="2022-05-08T19:08:20.317" v="838" actId="478"/>
          <ac:spMkLst>
            <pc:docMk/>
            <pc:sldMk cId="4041653533" sldId="275"/>
            <ac:spMk id="2" creationId="{138C24B8-1484-445E-9033-3DC782BA7849}"/>
          </ac:spMkLst>
        </pc:spChg>
        <pc:spChg chg="del">
          <ac:chgData name="Arno Sprengers" userId="b3633e5d-240f-4d61-ba25-be96d5f05fd0" providerId="ADAL" clId="{64EDB46A-7AD6-45A2-8857-D37592608C50}" dt="2022-05-08T19:08:17.453" v="837" actId="478"/>
          <ac:spMkLst>
            <pc:docMk/>
            <pc:sldMk cId="4041653533" sldId="275"/>
            <ac:spMk id="3" creationId="{C565B11F-7F42-4A7B-91DD-19E6F4FAC6A4}"/>
          </ac:spMkLst>
        </pc:spChg>
        <pc:spChg chg="mod">
          <ac:chgData name="Arno Sprengers" userId="b3633e5d-240f-4d61-ba25-be96d5f05fd0" providerId="ADAL" clId="{64EDB46A-7AD6-45A2-8857-D37592608C50}" dt="2022-05-08T19:38:24.988" v="1145" actId="1037"/>
          <ac:spMkLst>
            <pc:docMk/>
            <pc:sldMk cId="4041653533" sldId="275"/>
            <ac:spMk id="4" creationId="{D53E5D2E-CFFC-4A7D-95E2-62B392D5950C}"/>
          </ac:spMkLst>
        </pc:spChg>
        <pc:picChg chg="add mod">
          <ac:chgData name="Arno Sprengers" userId="b3633e5d-240f-4d61-ba25-be96d5f05fd0" providerId="ADAL" clId="{64EDB46A-7AD6-45A2-8857-D37592608C50}" dt="2022-05-08T19:39:11.042" v="1244" actId="1035"/>
          <ac:picMkLst>
            <pc:docMk/>
            <pc:sldMk cId="4041653533" sldId="275"/>
            <ac:picMk id="6" creationId="{E223FC00-3DE1-41A7-B0AB-13D8F95363B0}"/>
          </ac:picMkLst>
        </pc:picChg>
        <pc:picChg chg="add mod">
          <ac:chgData name="Arno Sprengers" userId="b3633e5d-240f-4d61-ba25-be96d5f05fd0" providerId="ADAL" clId="{64EDB46A-7AD6-45A2-8857-D37592608C50}" dt="2022-05-08T19:39:30.985" v="1283" actId="1076"/>
          <ac:picMkLst>
            <pc:docMk/>
            <pc:sldMk cId="4041653533" sldId="275"/>
            <ac:picMk id="8" creationId="{0F023C25-A4E6-45E6-8721-E1843EEDA374}"/>
          </ac:picMkLst>
        </pc:picChg>
        <pc:picChg chg="add mod">
          <ac:chgData name="Arno Sprengers" userId="b3633e5d-240f-4d61-ba25-be96d5f05fd0" providerId="ADAL" clId="{64EDB46A-7AD6-45A2-8857-D37592608C50}" dt="2022-05-08T19:39:23.243" v="1281" actId="1035"/>
          <ac:picMkLst>
            <pc:docMk/>
            <pc:sldMk cId="4041653533" sldId="275"/>
            <ac:picMk id="10" creationId="{339836D5-278A-4FEC-B96A-2DE842811DCA}"/>
          </ac:picMkLst>
        </pc:picChg>
        <pc:picChg chg="add mod">
          <ac:chgData name="Arno Sprengers" userId="b3633e5d-240f-4d61-ba25-be96d5f05fd0" providerId="ADAL" clId="{64EDB46A-7AD6-45A2-8857-D37592608C50}" dt="2022-05-08T19:39:23.243" v="1281" actId="1035"/>
          <ac:picMkLst>
            <pc:docMk/>
            <pc:sldMk cId="4041653533" sldId="275"/>
            <ac:picMk id="12" creationId="{E0ABE097-13F4-4452-A55E-6D2F21C5B1CF}"/>
          </ac:picMkLst>
        </pc:picChg>
        <pc:picChg chg="add mod">
          <ac:chgData name="Arno Sprengers" userId="b3633e5d-240f-4d61-ba25-be96d5f05fd0" providerId="ADAL" clId="{64EDB46A-7AD6-45A2-8857-D37592608C50}" dt="2022-05-08T19:39:23.243" v="1281" actId="1035"/>
          <ac:picMkLst>
            <pc:docMk/>
            <pc:sldMk cId="4041653533" sldId="275"/>
            <ac:picMk id="14" creationId="{185DCC78-BC5D-41D9-826D-B3EADD954659}"/>
          </ac:picMkLst>
        </pc:picChg>
        <pc:picChg chg="add mod">
          <ac:chgData name="Arno Sprengers" userId="b3633e5d-240f-4d61-ba25-be96d5f05fd0" providerId="ADAL" clId="{64EDB46A-7AD6-45A2-8857-D37592608C50}" dt="2022-05-08T19:39:23.243" v="1281" actId="1035"/>
          <ac:picMkLst>
            <pc:docMk/>
            <pc:sldMk cId="4041653533" sldId="275"/>
            <ac:picMk id="16" creationId="{784677A2-6B75-4BAB-8F1F-81D3E87B3234}"/>
          </ac:picMkLst>
        </pc:picChg>
        <pc:picChg chg="add mod">
          <ac:chgData name="Arno Sprengers" userId="b3633e5d-240f-4d61-ba25-be96d5f05fd0" providerId="ADAL" clId="{64EDB46A-7AD6-45A2-8857-D37592608C50}" dt="2022-05-08T19:39:33.529" v="1284" actId="1076"/>
          <ac:picMkLst>
            <pc:docMk/>
            <pc:sldMk cId="4041653533" sldId="275"/>
            <ac:picMk id="18" creationId="{7F1AA5AD-E18F-4781-9F2A-AB671FF287F3}"/>
          </ac:picMkLst>
        </pc:picChg>
        <pc:picChg chg="add mod">
          <ac:chgData name="Arno Sprengers" userId="b3633e5d-240f-4d61-ba25-be96d5f05fd0" providerId="ADAL" clId="{64EDB46A-7AD6-45A2-8857-D37592608C50}" dt="2022-05-08T19:39:23.243" v="1281" actId="1035"/>
          <ac:picMkLst>
            <pc:docMk/>
            <pc:sldMk cId="4041653533" sldId="275"/>
            <ac:picMk id="20" creationId="{70F943D5-F435-4E2C-8262-331BBF4EE583}"/>
          </ac:picMkLst>
        </pc:picChg>
        <pc:picChg chg="add mod">
          <ac:chgData name="Arno Sprengers" userId="b3633e5d-240f-4d61-ba25-be96d5f05fd0" providerId="ADAL" clId="{64EDB46A-7AD6-45A2-8857-D37592608C50}" dt="2022-05-08T19:39:23.243" v="1281" actId="1035"/>
          <ac:picMkLst>
            <pc:docMk/>
            <pc:sldMk cId="4041653533" sldId="275"/>
            <ac:picMk id="22" creationId="{6A87763C-C5DC-4C27-B3B0-1BCD6B22FFF3}"/>
          </ac:picMkLst>
        </pc:picChg>
        <pc:picChg chg="add mod">
          <ac:chgData name="Arno Sprengers" userId="b3633e5d-240f-4d61-ba25-be96d5f05fd0" providerId="ADAL" clId="{64EDB46A-7AD6-45A2-8857-D37592608C50}" dt="2022-05-08T19:40:53.656" v="1298" actId="1076"/>
          <ac:picMkLst>
            <pc:docMk/>
            <pc:sldMk cId="4041653533" sldId="275"/>
            <ac:picMk id="24" creationId="{5CEB58ED-716B-49C9-91B8-7CC6EF6F4732}"/>
          </ac:picMkLst>
        </pc:picChg>
        <pc:picChg chg="add mod">
          <ac:chgData name="Arno Sprengers" userId="b3633e5d-240f-4d61-ba25-be96d5f05fd0" providerId="ADAL" clId="{64EDB46A-7AD6-45A2-8857-D37592608C50}" dt="2022-05-08T19:39:23.243" v="1281" actId="1035"/>
          <ac:picMkLst>
            <pc:docMk/>
            <pc:sldMk cId="4041653533" sldId="275"/>
            <ac:picMk id="26" creationId="{FB98A84F-BEAF-4280-9AEB-8F770E517D81}"/>
          </ac:picMkLst>
        </pc:picChg>
        <pc:picChg chg="add del mod">
          <ac:chgData name="Arno Sprengers" userId="b3633e5d-240f-4d61-ba25-be96d5f05fd0" providerId="ADAL" clId="{64EDB46A-7AD6-45A2-8857-D37592608C50}" dt="2022-05-08T19:40:29.204" v="1294" actId="478"/>
          <ac:picMkLst>
            <pc:docMk/>
            <pc:sldMk cId="4041653533" sldId="275"/>
            <ac:picMk id="28" creationId="{E6820DA0-DF22-470A-AC18-C93743B21F16}"/>
          </ac:picMkLst>
        </pc:picChg>
        <pc:picChg chg="add mod">
          <ac:chgData name="Arno Sprengers" userId="b3633e5d-240f-4d61-ba25-be96d5f05fd0" providerId="ADAL" clId="{64EDB46A-7AD6-45A2-8857-D37592608C50}" dt="2022-05-08T19:39:23.243" v="1281" actId="1035"/>
          <ac:picMkLst>
            <pc:docMk/>
            <pc:sldMk cId="4041653533" sldId="275"/>
            <ac:picMk id="30" creationId="{F8106CE0-9F88-4DAA-9146-6B7F2A292A1A}"/>
          </ac:picMkLst>
        </pc:picChg>
        <pc:picChg chg="add mod">
          <ac:chgData name="Arno Sprengers" userId="b3633e5d-240f-4d61-ba25-be96d5f05fd0" providerId="ADAL" clId="{64EDB46A-7AD6-45A2-8857-D37592608C50}" dt="2022-05-08T19:41:17.644" v="1306" actId="1076"/>
          <ac:picMkLst>
            <pc:docMk/>
            <pc:sldMk cId="4041653533" sldId="275"/>
            <ac:picMk id="32" creationId="{5929B00E-5176-4CCE-B363-2671259D2290}"/>
          </ac:picMkLst>
        </pc:picChg>
        <pc:picChg chg="add mod">
          <ac:chgData name="Arno Sprengers" userId="b3633e5d-240f-4d61-ba25-be96d5f05fd0" providerId="ADAL" clId="{64EDB46A-7AD6-45A2-8857-D37592608C50}" dt="2022-05-08T19:41:10.040" v="1305" actId="14100"/>
          <ac:picMkLst>
            <pc:docMk/>
            <pc:sldMk cId="4041653533" sldId="275"/>
            <ac:picMk id="34" creationId="{86A4D339-2B93-4892-BB09-D6C0AA1ECDD4}"/>
          </ac:picMkLst>
        </pc:picChg>
        <pc:picChg chg="add mod">
          <ac:chgData name="Arno Sprengers" userId="b3633e5d-240f-4d61-ba25-be96d5f05fd0" providerId="ADAL" clId="{64EDB46A-7AD6-45A2-8857-D37592608C50}" dt="2022-05-08T19:39:45.232" v="1285" actId="1076"/>
          <ac:picMkLst>
            <pc:docMk/>
            <pc:sldMk cId="4041653533" sldId="275"/>
            <ac:picMk id="36" creationId="{284680ED-E414-48AF-87C8-6EB7825DC8B6}"/>
          </ac:picMkLst>
        </pc:picChg>
        <pc:picChg chg="add mod">
          <ac:chgData name="Arno Sprengers" userId="b3633e5d-240f-4d61-ba25-be96d5f05fd0" providerId="ADAL" clId="{64EDB46A-7AD6-45A2-8857-D37592608C50}" dt="2022-05-08T19:39:49.853" v="1286" actId="1076"/>
          <ac:picMkLst>
            <pc:docMk/>
            <pc:sldMk cId="4041653533" sldId="275"/>
            <ac:picMk id="38" creationId="{27237295-C222-4094-82F8-DC58F5FD4581}"/>
          </ac:picMkLst>
        </pc:picChg>
        <pc:picChg chg="add mod">
          <ac:chgData name="Arno Sprengers" userId="b3633e5d-240f-4d61-ba25-be96d5f05fd0" providerId="ADAL" clId="{64EDB46A-7AD6-45A2-8857-D37592608C50}" dt="2022-05-08T19:39:55.330" v="1287" actId="1076"/>
          <ac:picMkLst>
            <pc:docMk/>
            <pc:sldMk cId="4041653533" sldId="275"/>
            <ac:picMk id="40" creationId="{1DAF425F-F2F0-4E38-9F82-B99CC6F5429B}"/>
          </ac:picMkLst>
        </pc:picChg>
        <pc:picChg chg="add mod">
          <ac:chgData name="Arno Sprengers" userId="b3633e5d-240f-4d61-ba25-be96d5f05fd0" providerId="ADAL" clId="{64EDB46A-7AD6-45A2-8857-D37592608C50}" dt="2022-05-08T19:40:03.945" v="1290" actId="1076"/>
          <ac:picMkLst>
            <pc:docMk/>
            <pc:sldMk cId="4041653533" sldId="275"/>
            <ac:picMk id="42" creationId="{A2F6BB66-590D-4E6B-AC00-2183FB22D05B}"/>
          </ac:picMkLst>
        </pc:picChg>
        <pc:picChg chg="add mod">
          <ac:chgData name="Arno Sprengers" userId="b3633e5d-240f-4d61-ba25-be96d5f05fd0" providerId="ADAL" clId="{64EDB46A-7AD6-45A2-8857-D37592608C50}" dt="2022-05-08T19:40:11.628" v="1291" actId="1076"/>
          <ac:picMkLst>
            <pc:docMk/>
            <pc:sldMk cId="4041653533" sldId="275"/>
            <ac:picMk id="44" creationId="{936C2C99-557B-4CED-9105-7756ACAC0821}"/>
          </ac:picMkLst>
        </pc:picChg>
        <pc:picChg chg="add mod">
          <ac:chgData name="Arno Sprengers" userId="b3633e5d-240f-4d61-ba25-be96d5f05fd0" providerId="ADAL" clId="{64EDB46A-7AD6-45A2-8857-D37592608C50}" dt="2022-05-08T19:40:51.351" v="1297" actId="1076"/>
          <ac:picMkLst>
            <pc:docMk/>
            <pc:sldMk cId="4041653533" sldId="275"/>
            <ac:picMk id="46" creationId="{F688F911-2A6B-46C8-B134-08337D66CC13}"/>
          </ac:picMkLst>
        </pc:picChg>
        <pc:picChg chg="add mod">
          <ac:chgData name="Arno Sprengers" userId="b3633e5d-240f-4d61-ba25-be96d5f05fd0" providerId="ADAL" clId="{64EDB46A-7AD6-45A2-8857-D37592608C50}" dt="2022-05-08T19:40:49.225" v="1296" actId="1076"/>
          <ac:picMkLst>
            <pc:docMk/>
            <pc:sldMk cId="4041653533" sldId="275"/>
            <ac:picMk id="48" creationId="{8184E505-8433-4DA9-A81D-B7CB8EC68822}"/>
          </ac:picMkLst>
        </pc:picChg>
        <pc:picChg chg="add mod">
          <ac:chgData name="Arno Sprengers" userId="b3633e5d-240f-4d61-ba25-be96d5f05fd0" providerId="ADAL" clId="{64EDB46A-7AD6-45A2-8857-D37592608C50}" dt="2022-05-08T19:38:24.988" v="1145" actId="1037"/>
          <ac:picMkLst>
            <pc:docMk/>
            <pc:sldMk cId="4041653533" sldId="275"/>
            <ac:picMk id="50" creationId="{D37840C1-2AF9-44F8-950D-29426A33DF60}"/>
          </ac:picMkLst>
        </pc:picChg>
        <pc:picChg chg="add mod">
          <ac:chgData name="Arno Sprengers" userId="b3633e5d-240f-4d61-ba25-be96d5f05fd0" providerId="ADAL" clId="{64EDB46A-7AD6-45A2-8857-D37592608C50}" dt="2022-05-08T19:38:24.988" v="1145" actId="1037"/>
          <ac:picMkLst>
            <pc:docMk/>
            <pc:sldMk cId="4041653533" sldId="275"/>
            <ac:picMk id="52" creationId="{15740A06-84A9-4841-BA74-80E0A7A22AE4}"/>
          </ac:picMkLst>
        </pc:picChg>
        <pc:picChg chg="add mod">
          <ac:chgData name="Arno Sprengers" userId="b3633e5d-240f-4d61-ba25-be96d5f05fd0" providerId="ADAL" clId="{64EDB46A-7AD6-45A2-8857-D37592608C50}" dt="2022-05-08T19:38:24.988" v="1145" actId="1037"/>
          <ac:picMkLst>
            <pc:docMk/>
            <pc:sldMk cId="4041653533" sldId="275"/>
            <ac:picMk id="54" creationId="{65A2F8BE-2E38-4BE9-A74E-6217EEABE8C5}"/>
          </ac:picMkLst>
        </pc:picChg>
        <pc:picChg chg="add mod">
          <ac:chgData name="Arno Sprengers" userId="b3633e5d-240f-4d61-ba25-be96d5f05fd0" providerId="ADAL" clId="{64EDB46A-7AD6-45A2-8857-D37592608C50}" dt="2022-05-08T19:38:24.988" v="1145" actId="1037"/>
          <ac:picMkLst>
            <pc:docMk/>
            <pc:sldMk cId="4041653533" sldId="275"/>
            <ac:picMk id="56" creationId="{49026FF4-A2E8-4952-BE1F-CF2A63A7046B}"/>
          </ac:picMkLst>
        </pc:picChg>
        <pc:picChg chg="add mod modCrop">
          <ac:chgData name="Arno Sprengers" userId="b3633e5d-240f-4d61-ba25-be96d5f05fd0" providerId="ADAL" clId="{64EDB46A-7AD6-45A2-8857-D37592608C50}" dt="2022-05-08T19:38:24.988" v="1145" actId="1037"/>
          <ac:picMkLst>
            <pc:docMk/>
            <pc:sldMk cId="4041653533" sldId="275"/>
            <ac:picMk id="58" creationId="{7DAB395D-2ACF-47BD-8BA7-C4F11507C9F4}"/>
          </ac:picMkLst>
        </pc:picChg>
        <pc:picChg chg="add mod modCrop">
          <ac:chgData name="Arno Sprengers" userId="b3633e5d-240f-4d61-ba25-be96d5f05fd0" providerId="ADAL" clId="{64EDB46A-7AD6-45A2-8857-D37592608C50}" dt="2022-05-08T19:38:24.988" v="1145" actId="1037"/>
          <ac:picMkLst>
            <pc:docMk/>
            <pc:sldMk cId="4041653533" sldId="275"/>
            <ac:picMk id="60" creationId="{433B0B1E-C421-4970-A1EB-7ADA4A0E2DC3}"/>
          </ac:picMkLst>
        </pc:picChg>
        <pc:picChg chg="add mod modCrop">
          <ac:chgData name="Arno Sprengers" userId="b3633e5d-240f-4d61-ba25-be96d5f05fd0" providerId="ADAL" clId="{64EDB46A-7AD6-45A2-8857-D37592608C50}" dt="2022-05-08T19:38:24.988" v="1145" actId="1037"/>
          <ac:picMkLst>
            <pc:docMk/>
            <pc:sldMk cId="4041653533" sldId="275"/>
            <ac:picMk id="62" creationId="{2DA9EE8A-9F80-4BC9-B0C8-28E359F4ED46}"/>
          </ac:picMkLst>
        </pc:picChg>
        <pc:picChg chg="add mod">
          <ac:chgData name="Arno Sprengers" userId="b3633e5d-240f-4d61-ba25-be96d5f05fd0" providerId="ADAL" clId="{64EDB46A-7AD6-45A2-8857-D37592608C50}" dt="2022-05-08T19:38:35.729" v="1152" actId="1035"/>
          <ac:picMkLst>
            <pc:docMk/>
            <pc:sldMk cId="4041653533" sldId="275"/>
            <ac:picMk id="64" creationId="{6644D3CA-D1BC-4D08-B642-A262416F2363}"/>
          </ac:picMkLst>
        </pc:picChg>
        <pc:picChg chg="add del mod">
          <ac:chgData name="Arno Sprengers" userId="b3633e5d-240f-4d61-ba25-be96d5f05fd0" providerId="ADAL" clId="{64EDB46A-7AD6-45A2-8857-D37592608C50}" dt="2022-05-08T19:10:20.182" v="863" actId="478"/>
          <ac:picMkLst>
            <pc:docMk/>
            <pc:sldMk cId="4041653533" sldId="275"/>
            <ac:picMk id="66" creationId="{A81E67A6-97C9-489B-BDFE-1D0D78352C44}"/>
          </ac:picMkLst>
        </pc:picChg>
        <pc:picChg chg="add mod">
          <ac:chgData name="Arno Sprengers" userId="b3633e5d-240f-4d61-ba25-be96d5f05fd0" providerId="ADAL" clId="{64EDB46A-7AD6-45A2-8857-D37592608C50}" dt="2022-05-08T19:38:35.729" v="1152" actId="1035"/>
          <ac:picMkLst>
            <pc:docMk/>
            <pc:sldMk cId="4041653533" sldId="275"/>
            <ac:picMk id="68" creationId="{68260708-848C-46AA-8766-9CD57E5255EE}"/>
          </ac:picMkLst>
        </pc:picChg>
        <pc:picChg chg="add mod modCrop">
          <ac:chgData name="Arno Sprengers" userId="b3633e5d-240f-4d61-ba25-be96d5f05fd0" providerId="ADAL" clId="{64EDB46A-7AD6-45A2-8857-D37592608C50}" dt="2022-05-08T19:38:35.729" v="1152" actId="1035"/>
          <ac:picMkLst>
            <pc:docMk/>
            <pc:sldMk cId="4041653533" sldId="275"/>
            <ac:picMk id="70" creationId="{F7CA51AF-495A-4D6B-986E-674C42978766}"/>
          </ac:picMkLst>
        </pc:picChg>
        <pc:picChg chg="add mod">
          <ac:chgData name="Arno Sprengers" userId="b3633e5d-240f-4d61-ba25-be96d5f05fd0" providerId="ADAL" clId="{64EDB46A-7AD6-45A2-8857-D37592608C50}" dt="2022-05-08T19:40:36.325" v="1295" actId="1076"/>
          <ac:picMkLst>
            <pc:docMk/>
            <pc:sldMk cId="4041653533" sldId="275"/>
            <ac:picMk id="72" creationId="{27DE6EAD-88ED-4984-8065-6C0BF73F9F80}"/>
          </ac:picMkLst>
        </pc:picChg>
        <pc:picChg chg="add mod">
          <ac:chgData name="Arno Sprengers" userId="b3633e5d-240f-4d61-ba25-be96d5f05fd0" providerId="ADAL" clId="{64EDB46A-7AD6-45A2-8857-D37592608C50}" dt="2022-05-08T19:38:35.729" v="1152" actId="1035"/>
          <ac:picMkLst>
            <pc:docMk/>
            <pc:sldMk cId="4041653533" sldId="275"/>
            <ac:picMk id="74" creationId="{A32D9F4A-F515-4590-9CB3-04933A4AA78F}"/>
          </ac:picMkLst>
        </pc:picChg>
        <pc:picChg chg="add mod">
          <ac:chgData name="Arno Sprengers" userId="b3633e5d-240f-4d61-ba25-be96d5f05fd0" providerId="ADAL" clId="{64EDB46A-7AD6-45A2-8857-D37592608C50}" dt="2022-05-08T19:38:35.729" v="1152" actId="1035"/>
          <ac:picMkLst>
            <pc:docMk/>
            <pc:sldMk cId="4041653533" sldId="275"/>
            <ac:picMk id="76" creationId="{F1C41393-F218-44D0-A839-F9148AAAB2B0}"/>
          </ac:picMkLst>
        </pc:picChg>
        <pc:picChg chg="add mod">
          <ac:chgData name="Arno Sprengers" userId="b3633e5d-240f-4d61-ba25-be96d5f05fd0" providerId="ADAL" clId="{64EDB46A-7AD6-45A2-8857-D37592608C50}" dt="2022-05-08T19:38:35.729" v="1152" actId="1035"/>
          <ac:picMkLst>
            <pc:docMk/>
            <pc:sldMk cId="4041653533" sldId="275"/>
            <ac:picMk id="78" creationId="{A2393463-46DC-4212-8725-ABE00203BAC5}"/>
          </ac:picMkLst>
        </pc:picChg>
        <pc:picChg chg="add mod">
          <ac:chgData name="Arno Sprengers" userId="b3633e5d-240f-4d61-ba25-be96d5f05fd0" providerId="ADAL" clId="{64EDB46A-7AD6-45A2-8857-D37592608C50}" dt="2022-05-08T19:38:35.729" v="1152" actId="1035"/>
          <ac:picMkLst>
            <pc:docMk/>
            <pc:sldMk cId="4041653533" sldId="275"/>
            <ac:picMk id="80" creationId="{518096B3-E5EA-46D5-8870-D3ED7D9A4F00}"/>
          </ac:picMkLst>
        </pc:picChg>
        <pc:picChg chg="add mod modCrop">
          <ac:chgData name="Arno Sprengers" userId="b3633e5d-240f-4d61-ba25-be96d5f05fd0" providerId="ADAL" clId="{64EDB46A-7AD6-45A2-8857-D37592608C50}" dt="2022-05-08T19:38:43.927" v="1173" actId="1035"/>
          <ac:picMkLst>
            <pc:docMk/>
            <pc:sldMk cId="4041653533" sldId="275"/>
            <ac:picMk id="82" creationId="{97D020EC-86C5-4000-ACCA-A321C25421F3}"/>
          </ac:picMkLst>
        </pc:picChg>
        <pc:picChg chg="add mod">
          <ac:chgData name="Arno Sprengers" userId="b3633e5d-240f-4d61-ba25-be96d5f05fd0" providerId="ADAL" clId="{64EDB46A-7AD6-45A2-8857-D37592608C50}" dt="2022-05-08T19:38:43.927" v="1173" actId="1035"/>
          <ac:picMkLst>
            <pc:docMk/>
            <pc:sldMk cId="4041653533" sldId="275"/>
            <ac:picMk id="84" creationId="{B8749258-50F5-4103-8249-0A6569723F2B}"/>
          </ac:picMkLst>
        </pc:picChg>
        <pc:picChg chg="add mod">
          <ac:chgData name="Arno Sprengers" userId="b3633e5d-240f-4d61-ba25-be96d5f05fd0" providerId="ADAL" clId="{64EDB46A-7AD6-45A2-8857-D37592608C50}" dt="2022-05-08T19:38:43.927" v="1173" actId="1035"/>
          <ac:picMkLst>
            <pc:docMk/>
            <pc:sldMk cId="4041653533" sldId="275"/>
            <ac:picMk id="86" creationId="{38A0C4F7-A8C8-489F-A92D-D4304081EAB1}"/>
          </ac:picMkLst>
        </pc:picChg>
        <pc:picChg chg="add mod">
          <ac:chgData name="Arno Sprengers" userId="b3633e5d-240f-4d61-ba25-be96d5f05fd0" providerId="ADAL" clId="{64EDB46A-7AD6-45A2-8857-D37592608C50}" dt="2022-05-08T19:38:43.927" v="1173" actId="1035"/>
          <ac:picMkLst>
            <pc:docMk/>
            <pc:sldMk cId="4041653533" sldId="275"/>
            <ac:picMk id="88" creationId="{BD7E52CE-226B-434B-B108-6801B32BE45F}"/>
          </ac:picMkLst>
        </pc:picChg>
        <pc:picChg chg="add mod modCrop">
          <ac:chgData name="Arno Sprengers" userId="b3633e5d-240f-4d61-ba25-be96d5f05fd0" providerId="ADAL" clId="{64EDB46A-7AD6-45A2-8857-D37592608C50}" dt="2022-05-08T19:38:43.927" v="1173" actId="1035"/>
          <ac:picMkLst>
            <pc:docMk/>
            <pc:sldMk cId="4041653533" sldId="275"/>
            <ac:picMk id="90" creationId="{2DDA8E44-1CE8-41C6-808B-B9EADE475798}"/>
          </ac:picMkLst>
        </pc:picChg>
        <pc:picChg chg="add mod">
          <ac:chgData name="Arno Sprengers" userId="b3633e5d-240f-4d61-ba25-be96d5f05fd0" providerId="ADAL" clId="{64EDB46A-7AD6-45A2-8857-D37592608C50}" dt="2022-05-08T19:38:43.927" v="1173" actId="1035"/>
          <ac:picMkLst>
            <pc:docMk/>
            <pc:sldMk cId="4041653533" sldId="275"/>
            <ac:picMk id="92" creationId="{9F88E62D-65CD-476F-85DD-12F62973DD65}"/>
          </ac:picMkLst>
        </pc:picChg>
        <pc:picChg chg="add mod">
          <ac:chgData name="Arno Sprengers" userId="b3633e5d-240f-4d61-ba25-be96d5f05fd0" providerId="ADAL" clId="{64EDB46A-7AD6-45A2-8857-D37592608C50}" dt="2022-05-08T19:38:43.927" v="1173" actId="1035"/>
          <ac:picMkLst>
            <pc:docMk/>
            <pc:sldMk cId="4041653533" sldId="275"/>
            <ac:picMk id="94" creationId="{8C2CF006-D5A5-477D-8713-311157B7BF9D}"/>
          </ac:picMkLst>
        </pc:picChg>
        <pc:picChg chg="add mod">
          <ac:chgData name="Arno Sprengers" userId="b3633e5d-240f-4d61-ba25-be96d5f05fd0" providerId="ADAL" clId="{64EDB46A-7AD6-45A2-8857-D37592608C50}" dt="2022-05-08T19:38:43.927" v="1173" actId="1035"/>
          <ac:picMkLst>
            <pc:docMk/>
            <pc:sldMk cId="4041653533" sldId="275"/>
            <ac:picMk id="96" creationId="{878EA73C-D3B6-4C0C-90DA-DC25073F59E5}"/>
          </ac:picMkLst>
        </pc:picChg>
        <pc:picChg chg="add mod">
          <ac:chgData name="Arno Sprengers" userId="b3633e5d-240f-4d61-ba25-be96d5f05fd0" providerId="ADAL" clId="{64EDB46A-7AD6-45A2-8857-D37592608C50}" dt="2022-05-08T19:38:51.556" v="1192" actId="1035"/>
          <ac:picMkLst>
            <pc:docMk/>
            <pc:sldMk cId="4041653533" sldId="275"/>
            <ac:picMk id="98" creationId="{96D0CBFB-E83A-4CAF-AED3-503DE727A2C6}"/>
          </ac:picMkLst>
        </pc:picChg>
        <pc:picChg chg="add mod">
          <ac:chgData name="Arno Sprengers" userId="b3633e5d-240f-4d61-ba25-be96d5f05fd0" providerId="ADAL" clId="{64EDB46A-7AD6-45A2-8857-D37592608C50}" dt="2022-05-08T19:38:51.556" v="1192" actId="1035"/>
          <ac:picMkLst>
            <pc:docMk/>
            <pc:sldMk cId="4041653533" sldId="275"/>
            <ac:picMk id="100" creationId="{C61EA445-7CC1-41D3-A6D4-263886CC724D}"/>
          </ac:picMkLst>
        </pc:picChg>
        <pc:picChg chg="add mod">
          <ac:chgData name="Arno Sprengers" userId="b3633e5d-240f-4d61-ba25-be96d5f05fd0" providerId="ADAL" clId="{64EDB46A-7AD6-45A2-8857-D37592608C50}" dt="2022-05-08T19:38:51.556" v="1192" actId="1035"/>
          <ac:picMkLst>
            <pc:docMk/>
            <pc:sldMk cId="4041653533" sldId="275"/>
            <ac:picMk id="102" creationId="{FA65CE93-2E02-4BBC-BACC-99CC82C3B11D}"/>
          </ac:picMkLst>
        </pc:picChg>
        <pc:picChg chg="add mod">
          <ac:chgData name="Arno Sprengers" userId="b3633e5d-240f-4d61-ba25-be96d5f05fd0" providerId="ADAL" clId="{64EDB46A-7AD6-45A2-8857-D37592608C50}" dt="2022-05-08T19:38:51.556" v="1192" actId="1035"/>
          <ac:picMkLst>
            <pc:docMk/>
            <pc:sldMk cId="4041653533" sldId="275"/>
            <ac:picMk id="104" creationId="{9C3CCE82-9C45-413A-8420-21561C4B2D73}"/>
          </ac:picMkLst>
        </pc:picChg>
        <pc:picChg chg="add mod">
          <ac:chgData name="Arno Sprengers" userId="b3633e5d-240f-4d61-ba25-be96d5f05fd0" providerId="ADAL" clId="{64EDB46A-7AD6-45A2-8857-D37592608C50}" dt="2022-05-08T19:38:51.556" v="1192" actId="1035"/>
          <ac:picMkLst>
            <pc:docMk/>
            <pc:sldMk cId="4041653533" sldId="275"/>
            <ac:picMk id="106" creationId="{F8BCB263-B9EB-4E27-A984-F59B3A66475B}"/>
          </ac:picMkLst>
        </pc:picChg>
        <pc:picChg chg="add mod">
          <ac:chgData name="Arno Sprengers" userId="b3633e5d-240f-4d61-ba25-be96d5f05fd0" providerId="ADAL" clId="{64EDB46A-7AD6-45A2-8857-D37592608C50}" dt="2022-05-08T19:38:51.556" v="1192" actId="1035"/>
          <ac:picMkLst>
            <pc:docMk/>
            <pc:sldMk cId="4041653533" sldId="275"/>
            <ac:picMk id="108" creationId="{687F5575-73DE-4E32-83B8-59F49F79D61F}"/>
          </ac:picMkLst>
        </pc:picChg>
        <pc:picChg chg="add mod">
          <ac:chgData name="Arno Sprengers" userId="b3633e5d-240f-4d61-ba25-be96d5f05fd0" providerId="ADAL" clId="{64EDB46A-7AD6-45A2-8857-D37592608C50}" dt="2022-05-08T19:38:51.556" v="1192" actId="1035"/>
          <ac:picMkLst>
            <pc:docMk/>
            <pc:sldMk cId="4041653533" sldId="275"/>
            <ac:picMk id="110" creationId="{48FEA06E-9B36-4B6C-9304-C3203604A8C9}"/>
          </ac:picMkLst>
        </pc:picChg>
        <pc:picChg chg="add mod">
          <ac:chgData name="Arno Sprengers" userId="b3633e5d-240f-4d61-ba25-be96d5f05fd0" providerId="ADAL" clId="{64EDB46A-7AD6-45A2-8857-D37592608C50}" dt="2022-05-08T19:38:59.504" v="1213" actId="1035"/>
          <ac:picMkLst>
            <pc:docMk/>
            <pc:sldMk cId="4041653533" sldId="275"/>
            <ac:picMk id="112" creationId="{C725F43F-9F9F-4DFC-A90F-D37CCFD89A30}"/>
          </ac:picMkLst>
        </pc:picChg>
        <pc:picChg chg="add mod">
          <ac:chgData name="Arno Sprengers" userId="b3633e5d-240f-4d61-ba25-be96d5f05fd0" providerId="ADAL" clId="{64EDB46A-7AD6-45A2-8857-D37592608C50}" dt="2022-05-08T19:38:59.504" v="1213" actId="1035"/>
          <ac:picMkLst>
            <pc:docMk/>
            <pc:sldMk cId="4041653533" sldId="275"/>
            <ac:picMk id="114" creationId="{6E8562DD-E26E-43D5-A91A-07D2D3DE0624}"/>
          </ac:picMkLst>
        </pc:picChg>
        <pc:picChg chg="add mod">
          <ac:chgData name="Arno Sprengers" userId="b3633e5d-240f-4d61-ba25-be96d5f05fd0" providerId="ADAL" clId="{64EDB46A-7AD6-45A2-8857-D37592608C50}" dt="2022-05-08T19:38:59.504" v="1213" actId="1035"/>
          <ac:picMkLst>
            <pc:docMk/>
            <pc:sldMk cId="4041653533" sldId="275"/>
            <ac:picMk id="116" creationId="{B3434E0F-ED84-443A-AAF3-24C49F3FCFA3}"/>
          </ac:picMkLst>
        </pc:picChg>
        <pc:picChg chg="add mod modCrop">
          <ac:chgData name="Arno Sprengers" userId="b3633e5d-240f-4d61-ba25-be96d5f05fd0" providerId="ADAL" clId="{64EDB46A-7AD6-45A2-8857-D37592608C50}" dt="2022-05-08T19:38:59.504" v="1213" actId="1035"/>
          <ac:picMkLst>
            <pc:docMk/>
            <pc:sldMk cId="4041653533" sldId="275"/>
            <ac:picMk id="118" creationId="{63BACBDB-BD0A-41DF-8195-D773D0FA1CF0}"/>
          </ac:picMkLst>
        </pc:picChg>
        <pc:picChg chg="add mod">
          <ac:chgData name="Arno Sprengers" userId="b3633e5d-240f-4d61-ba25-be96d5f05fd0" providerId="ADAL" clId="{64EDB46A-7AD6-45A2-8857-D37592608C50}" dt="2022-05-08T19:38:59.504" v="1213" actId="1035"/>
          <ac:picMkLst>
            <pc:docMk/>
            <pc:sldMk cId="4041653533" sldId="275"/>
            <ac:picMk id="120" creationId="{A9D57A42-E632-4865-A976-22895D7CAE91}"/>
          </ac:picMkLst>
        </pc:picChg>
        <pc:picChg chg="add mod">
          <ac:chgData name="Arno Sprengers" userId="b3633e5d-240f-4d61-ba25-be96d5f05fd0" providerId="ADAL" clId="{64EDB46A-7AD6-45A2-8857-D37592608C50}" dt="2022-05-08T19:38:59.504" v="1213" actId="1035"/>
          <ac:picMkLst>
            <pc:docMk/>
            <pc:sldMk cId="4041653533" sldId="275"/>
            <ac:picMk id="122" creationId="{B40CD2B5-0065-49D1-819E-6B6D13766933}"/>
          </ac:picMkLst>
        </pc:picChg>
        <pc:picChg chg="add mod">
          <ac:chgData name="Arno Sprengers" userId="b3633e5d-240f-4d61-ba25-be96d5f05fd0" providerId="ADAL" clId="{64EDB46A-7AD6-45A2-8857-D37592608C50}" dt="2022-05-08T19:39:11.042" v="1244" actId="1035"/>
          <ac:picMkLst>
            <pc:docMk/>
            <pc:sldMk cId="4041653533" sldId="275"/>
            <ac:picMk id="124" creationId="{9EE79B69-5D1B-4E05-9BCC-A9496435A9BC}"/>
          </ac:picMkLst>
        </pc:picChg>
        <pc:picChg chg="add mod">
          <ac:chgData name="Arno Sprengers" userId="b3633e5d-240f-4d61-ba25-be96d5f05fd0" providerId="ADAL" clId="{64EDB46A-7AD6-45A2-8857-D37592608C50}" dt="2022-05-08T19:39:11.042" v="1244" actId="1035"/>
          <ac:picMkLst>
            <pc:docMk/>
            <pc:sldMk cId="4041653533" sldId="275"/>
            <ac:picMk id="126" creationId="{6550D835-FBBB-4DD3-8BEF-E0CA3FE45ADC}"/>
          </ac:picMkLst>
        </pc:picChg>
        <pc:picChg chg="add mod">
          <ac:chgData name="Arno Sprengers" userId="b3633e5d-240f-4d61-ba25-be96d5f05fd0" providerId="ADAL" clId="{64EDB46A-7AD6-45A2-8857-D37592608C50}" dt="2022-05-08T19:39:11.042" v="1244" actId="1035"/>
          <ac:picMkLst>
            <pc:docMk/>
            <pc:sldMk cId="4041653533" sldId="275"/>
            <ac:picMk id="128" creationId="{6AF08F29-CC0D-4E26-9BAE-2DC278C02151}"/>
          </ac:picMkLst>
        </pc:picChg>
        <pc:picChg chg="add mod modCrop">
          <ac:chgData name="Arno Sprengers" userId="b3633e5d-240f-4d61-ba25-be96d5f05fd0" providerId="ADAL" clId="{64EDB46A-7AD6-45A2-8857-D37592608C50}" dt="2022-05-08T19:41:52.701" v="1313" actId="1076"/>
          <ac:picMkLst>
            <pc:docMk/>
            <pc:sldMk cId="4041653533" sldId="275"/>
            <ac:picMk id="130" creationId="{235196AC-435D-4C0C-ADD1-97FE718DE870}"/>
          </ac:picMkLst>
        </pc:picChg>
        <pc:picChg chg="add mod">
          <ac:chgData name="Arno Sprengers" userId="b3633e5d-240f-4d61-ba25-be96d5f05fd0" providerId="ADAL" clId="{64EDB46A-7AD6-45A2-8857-D37592608C50}" dt="2022-05-08T19:39:11.042" v="1244" actId="1035"/>
          <ac:picMkLst>
            <pc:docMk/>
            <pc:sldMk cId="4041653533" sldId="275"/>
            <ac:picMk id="132" creationId="{E2BD8506-40B4-4B99-882D-BC3CE02347A7}"/>
          </ac:picMkLst>
        </pc:picChg>
        <pc:picChg chg="add mod">
          <ac:chgData name="Arno Sprengers" userId="b3633e5d-240f-4d61-ba25-be96d5f05fd0" providerId="ADAL" clId="{64EDB46A-7AD6-45A2-8857-D37592608C50}" dt="2022-05-08T19:39:11.042" v="1244" actId="1035"/>
          <ac:picMkLst>
            <pc:docMk/>
            <pc:sldMk cId="4041653533" sldId="275"/>
            <ac:picMk id="134" creationId="{8FD573E6-CD0A-4B51-8629-79A008B692CC}"/>
          </ac:picMkLst>
        </pc:picChg>
        <pc:picChg chg="add mod">
          <ac:chgData name="Arno Sprengers" userId="b3633e5d-240f-4d61-ba25-be96d5f05fd0" providerId="ADAL" clId="{64EDB46A-7AD6-45A2-8857-D37592608C50}" dt="2022-05-08T19:39:11.042" v="1244" actId="1035"/>
          <ac:picMkLst>
            <pc:docMk/>
            <pc:sldMk cId="4041653533" sldId="275"/>
            <ac:picMk id="136" creationId="{B9894FA3-8A1F-4EFC-9BFB-4846C2CA479D}"/>
          </ac:picMkLst>
        </pc:picChg>
        <pc:picChg chg="add mod">
          <ac:chgData name="Arno Sprengers" userId="b3633e5d-240f-4d61-ba25-be96d5f05fd0" providerId="ADAL" clId="{64EDB46A-7AD6-45A2-8857-D37592608C50}" dt="2022-05-08T19:38:24.988" v="1145" actId="1037"/>
          <ac:picMkLst>
            <pc:docMk/>
            <pc:sldMk cId="4041653533" sldId="275"/>
            <ac:picMk id="138" creationId="{591C8F25-F6C4-444A-BAF2-A43077381DE0}"/>
          </ac:picMkLst>
        </pc:picChg>
      </pc:sldChg>
      <pc:sldChg chg="add del setBg">
        <pc:chgData name="Arno Sprengers" userId="b3633e5d-240f-4d61-ba25-be96d5f05fd0" providerId="ADAL" clId="{64EDB46A-7AD6-45A2-8857-D37592608C50}" dt="2022-05-09T04:49:36.856" v="1320"/>
        <pc:sldMkLst>
          <pc:docMk/>
          <pc:sldMk cId="1867957086" sldId="288"/>
        </pc:sldMkLst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1145583362" sldId="330"/>
        </pc:sldMkLst>
      </pc:sldChg>
      <pc:sldChg chg="modSp add del">
        <pc:chgData name="Arno Sprengers" userId="b3633e5d-240f-4d61-ba25-be96d5f05fd0" providerId="ADAL" clId="{64EDB46A-7AD6-45A2-8857-D37592608C50}" dt="2022-05-09T04:49:36.856" v="1320"/>
        <pc:sldMkLst>
          <pc:docMk/>
          <pc:sldMk cId="2936637728" sldId="336"/>
        </pc:sldMkLst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2936637728" sldId="336"/>
            <ac:spMk id="5" creationId="{00000000-0000-0000-0000-000000000000}"/>
          </ac:spMkLst>
        </pc:spChg>
      </pc:sldChg>
      <pc:sldChg chg="modSp add del mod">
        <pc:chgData name="Arno Sprengers" userId="b3633e5d-240f-4d61-ba25-be96d5f05fd0" providerId="ADAL" clId="{64EDB46A-7AD6-45A2-8857-D37592608C50}" dt="2022-05-09T04:49:36.856" v="1320"/>
        <pc:sldMkLst>
          <pc:docMk/>
          <pc:sldMk cId="3823279788" sldId="340"/>
        </pc:sldMkLst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3823279788" sldId="340"/>
            <ac:spMk id="5" creationId="{00000000-0000-0000-0000-000000000000}"/>
          </ac:spMkLst>
        </pc:spChg>
        <pc:spChg chg="mod">
          <ac:chgData name="Arno Sprengers" userId="b3633e5d-240f-4d61-ba25-be96d5f05fd0" providerId="ADAL" clId="{64EDB46A-7AD6-45A2-8857-D37592608C50}" dt="2022-05-09T04:49:36.856" v="1320"/>
          <ac:spMkLst>
            <pc:docMk/>
            <pc:sldMk cId="3823279788" sldId="340"/>
            <ac:spMk id="10" creationId="{9632071A-23D2-4DF9-A0A7-9AB86C9B4E86}"/>
          </ac:spMkLst>
        </pc:spChg>
      </pc:sldChg>
      <pc:sldChg chg="modSp add del mod">
        <pc:chgData name="Arno Sprengers" userId="b3633e5d-240f-4d61-ba25-be96d5f05fd0" providerId="ADAL" clId="{64EDB46A-7AD6-45A2-8857-D37592608C50}" dt="2022-05-09T04:49:36.856" v="1320"/>
        <pc:sldMkLst>
          <pc:docMk/>
          <pc:sldMk cId="2713365866" sldId="343"/>
        </pc:sldMkLst>
        <pc:spChg chg="mod">
          <ac:chgData name="Arno Sprengers" userId="b3633e5d-240f-4d61-ba25-be96d5f05fd0" providerId="ADAL" clId="{64EDB46A-7AD6-45A2-8857-D37592608C50}" dt="2022-05-09T04:49:36.856" v="1320"/>
          <ac:spMkLst>
            <pc:docMk/>
            <pc:sldMk cId="2713365866" sldId="343"/>
            <ac:spMk id="3" creationId="{00000000-0000-0000-0000-000000000000}"/>
          </ac:spMkLst>
        </pc:spChg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2713365866" sldId="343"/>
            <ac:spMk id="5" creationId="{00000000-0000-0000-0000-000000000000}"/>
          </ac:spMkLst>
        </pc:spChg>
      </pc:sldChg>
      <pc:sldChg chg="add del">
        <pc:chgData name="Arno Sprengers" userId="b3633e5d-240f-4d61-ba25-be96d5f05fd0" providerId="ADAL" clId="{64EDB46A-7AD6-45A2-8857-D37592608C50}" dt="2022-05-09T04:49:36.856" v="1320"/>
        <pc:sldMkLst>
          <pc:docMk/>
          <pc:sldMk cId="2903366378" sldId="344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347"/>
        </pc:sldMkLst>
      </pc:sldChg>
      <pc:sldChg chg="modSp add del">
        <pc:chgData name="Arno Sprengers" userId="b3633e5d-240f-4d61-ba25-be96d5f05fd0" providerId="ADAL" clId="{64EDB46A-7AD6-45A2-8857-D37592608C50}" dt="2022-05-09T04:49:36.856" v="1320"/>
        <pc:sldMkLst>
          <pc:docMk/>
          <pc:sldMk cId="3679158693" sldId="349"/>
        </pc:sldMkLst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3679158693" sldId="349"/>
            <ac:spMk id="5" creationId="{00000000-0000-0000-0000-000000000000}"/>
          </ac:spMkLst>
        </pc:spChg>
      </pc:sldChg>
      <pc:sldChg chg="modSp add del">
        <pc:chgData name="Arno Sprengers" userId="b3633e5d-240f-4d61-ba25-be96d5f05fd0" providerId="ADAL" clId="{64EDB46A-7AD6-45A2-8857-D37592608C50}" dt="2022-05-09T04:49:36.856" v="1320"/>
        <pc:sldMkLst>
          <pc:docMk/>
          <pc:sldMk cId="1408257491" sldId="350"/>
        </pc:sldMkLst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1408257491" sldId="350"/>
            <ac:spMk id="5" creationId="{00000000-0000-0000-0000-000000000000}"/>
          </ac:spMkLst>
        </pc:spChg>
      </pc:sldChg>
      <pc:sldChg chg="modSp add del mod">
        <pc:chgData name="Arno Sprengers" userId="b3633e5d-240f-4d61-ba25-be96d5f05fd0" providerId="ADAL" clId="{64EDB46A-7AD6-45A2-8857-D37592608C50}" dt="2022-05-09T04:49:36.856" v="1320"/>
        <pc:sldMkLst>
          <pc:docMk/>
          <pc:sldMk cId="2464052807" sldId="351"/>
        </pc:sldMkLst>
        <pc:spChg chg="mod">
          <ac:chgData name="Arno Sprengers" userId="b3633e5d-240f-4d61-ba25-be96d5f05fd0" providerId="ADAL" clId="{64EDB46A-7AD6-45A2-8857-D37592608C50}" dt="2022-05-09T04:49:36.856" v="1320"/>
          <ac:spMkLst>
            <pc:docMk/>
            <pc:sldMk cId="2464052807" sldId="351"/>
            <ac:spMk id="3" creationId="{00000000-0000-0000-0000-000000000000}"/>
          </ac:spMkLst>
        </pc:spChg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2464052807" sldId="351"/>
            <ac:spMk id="5" creationId="{00000000-0000-0000-0000-000000000000}"/>
          </ac:spMkLst>
        </pc:spChg>
      </pc:sldChg>
      <pc:sldChg chg="add del">
        <pc:chgData name="Arno Sprengers" userId="b3633e5d-240f-4d61-ba25-be96d5f05fd0" providerId="ADAL" clId="{64EDB46A-7AD6-45A2-8857-D37592608C50}" dt="2022-05-09T04:49:36.856" v="1320"/>
        <pc:sldMkLst>
          <pc:docMk/>
          <pc:sldMk cId="2084536587" sldId="354"/>
        </pc:sldMkLst>
      </pc:sldChg>
      <pc:sldChg chg="modSp add del">
        <pc:chgData name="Arno Sprengers" userId="b3633e5d-240f-4d61-ba25-be96d5f05fd0" providerId="ADAL" clId="{64EDB46A-7AD6-45A2-8857-D37592608C50}" dt="2022-05-09T04:49:36.856" v="1320"/>
        <pc:sldMkLst>
          <pc:docMk/>
          <pc:sldMk cId="2320070486" sldId="355"/>
        </pc:sldMkLst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2320070486" sldId="355"/>
            <ac:spMk id="5" creationId="{00000000-0000-0000-0000-000000000000}"/>
          </ac:spMkLst>
        </pc:spChg>
      </pc:sldChg>
      <pc:sldChg chg="modSp add del">
        <pc:chgData name="Arno Sprengers" userId="b3633e5d-240f-4d61-ba25-be96d5f05fd0" providerId="ADAL" clId="{64EDB46A-7AD6-45A2-8857-D37592608C50}" dt="2022-05-09T04:49:36.856" v="1320"/>
        <pc:sldMkLst>
          <pc:docMk/>
          <pc:sldMk cId="2617430824" sldId="356"/>
        </pc:sldMkLst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2617430824" sldId="356"/>
            <ac:spMk id="5" creationId="{00000000-0000-0000-0000-000000000000}"/>
          </ac:spMkLst>
        </pc:spChg>
      </pc:sldChg>
      <pc:sldChg chg="modSp add del">
        <pc:chgData name="Arno Sprengers" userId="b3633e5d-240f-4d61-ba25-be96d5f05fd0" providerId="ADAL" clId="{64EDB46A-7AD6-45A2-8857-D37592608C50}" dt="2022-05-09T04:49:36.856" v="1320"/>
        <pc:sldMkLst>
          <pc:docMk/>
          <pc:sldMk cId="132976504" sldId="357"/>
        </pc:sldMkLst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132976504" sldId="357"/>
            <ac:spMk id="5" creationId="{00000000-0000-0000-0000-000000000000}"/>
          </ac:spMkLst>
        </pc:spChg>
      </pc:sldChg>
      <pc:sldChg chg="modSp add del mod">
        <pc:chgData name="Arno Sprengers" userId="b3633e5d-240f-4d61-ba25-be96d5f05fd0" providerId="ADAL" clId="{64EDB46A-7AD6-45A2-8857-D37592608C50}" dt="2022-05-09T04:49:36.856" v="1320"/>
        <pc:sldMkLst>
          <pc:docMk/>
          <pc:sldMk cId="564444722" sldId="358"/>
        </pc:sldMkLst>
        <pc:spChg chg="mod">
          <ac:chgData name="Arno Sprengers" userId="b3633e5d-240f-4d61-ba25-be96d5f05fd0" providerId="ADAL" clId="{64EDB46A-7AD6-45A2-8857-D37592608C50}" dt="2022-05-09T04:49:17.977" v="1314"/>
          <ac:spMkLst>
            <pc:docMk/>
            <pc:sldMk cId="564444722" sldId="358"/>
            <ac:spMk id="5" creationId="{00000000-0000-0000-0000-000000000000}"/>
          </ac:spMkLst>
        </pc:spChg>
        <pc:spChg chg="mod">
          <ac:chgData name="Arno Sprengers" userId="b3633e5d-240f-4d61-ba25-be96d5f05fd0" providerId="ADAL" clId="{64EDB46A-7AD6-45A2-8857-D37592608C50}" dt="2022-05-09T04:49:36.856" v="1320"/>
          <ac:spMkLst>
            <pc:docMk/>
            <pc:sldMk cId="564444722" sldId="358"/>
            <ac:spMk id="10" creationId="{9632071A-23D2-4DF9-A0A7-9AB86C9B4E86}"/>
          </ac:spMkLst>
        </pc:spChg>
      </pc:sldChg>
      <pc:sldChg chg="modSp modAnim">
        <pc:chgData name="Arno Sprengers" userId="b3633e5d-240f-4d61-ba25-be96d5f05fd0" providerId="ADAL" clId="{64EDB46A-7AD6-45A2-8857-D37592608C50}" dt="2022-05-10T11:33:53.115" v="1453"/>
        <pc:sldMkLst>
          <pc:docMk/>
          <pc:sldMk cId="2528905633" sldId="360"/>
        </pc:sldMkLst>
        <pc:spChg chg="mod">
          <ac:chgData name="Arno Sprengers" userId="b3633e5d-240f-4d61-ba25-be96d5f05fd0" providerId="ADAL" clId="{64EDB46A-7AD6-45A2-8857-D37592608C50}" dt="2022-05-10T11:16:57.799" v="1444"/>
          <ac:spMkLst>
            <pc:docMk/>
            <pc:sldMk cId="2528905633" sldId="360"/>
            <ac:spMk id="5" creationId="{6AE467D8-F269-4F5E-98EC-83AFEF2269F2}"/>
          </ac:spMkLst>
        </pc:spChg>
      </pc:sldChg>
      <pc:sldChg chg="delSp modSp mod delAnim">
        <pc:chgData name="Arno Sprengers" userId="b3633e5d-240f-4d61-ba25-be96d5f05fd0" providerId="ADAL" clId="{64EDB46A-7AD6-45A2-8857-D37592608C50}" dt="2022-05-10T11:31:20.674" v="1450" actId="478"/>
        <pc:sldMkLst>
          <pc:docMk/>
          <pc:sldMk cId="992282245" sldId="361"/>
        </pc:sldMkLst>
        <pc:spChg chg="del mod">
          <ac:chgData name="Arno Sprengers" userId="b3633e5d-240f-4d61-ba25-be96d5f05fd0" providerId="ADAL" clId="{64EDB46A-7AD6-45A2-8857-D37592608C50}" dt="2022-05-10T11:31:06.559" v="1447" actId="478"/>
          <ac:spMkLst>
            <pc:docMk/>
            <pc:sldMk cId="992282245" sldId="361"/>
            <ac:spMk id="44" creationId="{62E9A2CA-FD79-4755-92B1-12F4A166E0B3}"/>
          </ac:spMkLst>
        </pc:spChg>
        <pc:spChg chg="del">
          <ac:chgData name="Arno Sprengers" userId="b3633e5d-240f-4d61-ba25-be96d5f05fd0" providerId="ADAL" clId="{64EDB46A-7AD6-45A2-8857-D37592608C50}" dt="2022-05-10T11:31:10.771" v="1448" actId="478"/>
          <ac:spMkLst>
            <pc:docMk/>
            <pc:sldMk cId="992282245" sldId="361"/>
            <ac:spMk id="45" creationId="{8239E0C6-E1B3-4FDD-9B5B-93B4151CF7A3}"/>
          </ac:spMkLst>
        </pc:spChg>
        <pc:spChg chg="del">
          <ac:chgData name="Arno Sprengers" userId="b3633e5d-240f-4d61-ba25-be96d5f05fd0" providerId="ADAL" clId="{64EDB46A-7AD6-45A2-8857-D37592608C50}" dt="2022-05-10T11:31:15.310" v="1449" actId="478"/>
          <ac:spMkLst>
            <pc:docMk/>
            <pc:sldMk cId="992282245" sldId="361"/>
            <ac:spMk id="46" creationId="{565D8641-0DD6-4994-BD0A-4EA4B049802C}"/>
          </ac:spMkLst>
        </pc:spChg>
        <pc:spChg chg="del">
          <ac:chgData name="Arno Sprengers" userId="b3633e5d-240f-4d61-ba25-be96d5f05fd0" providerId="ADAL" clId="{64EDB46A-7AD6-45A2-8857-D37592608C50}" dt="2022-05-10T11:31:20.674" v="1450" actId="478"/>
          <ac:spMkLst>
            <pc:docMk/>
            <pc:sldMk cId="992282245" sldId="361"/>
            <ac:spMk id="47" creationId="{4BA46F53-5FD6-4472-9860-C4B618474A50}"/>
          </ac:spMkLst>
        </pc:spChg>
      </pc:sldChg>
      <pc:sldChg chg="modSp modAnim">
        <pc:chgData name="Arno Sprengers" userId="b3633e5d-240f-4d61-ba25-be96d5f05fd0" providerId="ADAL" clId="{64EDB46A-7AD6-45A2-8857-D37592608C50}" dt="2022-05-10T11:29:48.376" v="1445"/>
        <pc:sldMkLst>
          <pc:docMk/>
          <pc:sldMk cId="3100603784" sldId="362"/>
        </pc:sldMkLst>
        <pc:spChg chg="mod">
          <ac:chgData name="Arno Sprengers" userId="b3633e5d-240f-4d61-ba25-be96d5f05fd0" providerId="ADAL" clId="{64EDB46A-7AD6-45A2-8857-D37592608C50}" dt="2022-05-10T11:15:19.353" v="1443" actId="20577"/>
          <ac:spMkLst>
            <pc:docMk/>
            <pc:sldMk cId="3100603784" sldId="362"/>
            <ac:spMk id="7" creationId="{C39BCEF9-04C2-44FD-84FC-8FC14E17D027}"/>
          </ac:spMkLst>
        </pc:spChg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2519945021" sldId="363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693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799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865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936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016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045"/>
        </pc:sldMkLst>
      </pc:sldChg>
      <pc:sldChg chg="addSp delSp modSp add mod delAnim modAnim">
        <pc:chgData name="Arno Sprengers" userId="b3633e5d-240f-4d61-ba25-be96d5f05fd0" providerId="ADAL" clId="{64EDB46A-7AD6-45A2-8857-D37592608C50}" dt="2022-05-10T13:30:02.327" v="1466" actId="21"/>
        <pc:sldMkLst>
          <pc:docMk/>
          <pc:sldMk cId="0" sldId="1050"/>
        </pc:sldMkLst>
        <pc:picChg chg="add del mod">
          <ac:chgData name="Arno Sprengers" userId="b3633e5d-240f-4d61-ba25-be96d5f05fd0" providerId="ADAL" clId="{64EDB46A-7AD6-45A2-8857-D37592608C50}" dt="2022-05-10T13:30:02.327" v="1466" actId="21"/>
          <ac:picMkLst>
            <pc:docMk/>
            <pc:sldMk cId="0" sldId="1050"/>
            <ac:picMk id="2" creationId="{2A861A56-149E-4BFF-8906-7A09AE6997B4}"/>
          </ac:picMkLst>
        </pc:picChg>
        <pc:picChg chg="del">
          <ac:chgData name="Arno Sprengers" userId="b3633e5d-240f-4d61-ba25-be96d5f05fd0" providerId="ADAL" clId="{64EDB46A-7AD6-45A2-8857-D37592608C50}" dt="2022-05-10T13:11:01.379" v="1459" actId="478"/>
          <ac:picMkLst>
            <pc:docMk/>
            <pc:sldMk cId="0" sldId="1050"/>
            <ac:picMk id="4" creationId="{68494D7A-2F4F-40D4-AF8A-0E22CAE498D2}"/>
          </ac:picMkLst>
        </pc:picChg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086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096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116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133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138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153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163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165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189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196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222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234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325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329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330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335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356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454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754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755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756"/>
        </pc:sldMkLst>
      </pc:sldChg>
      <pc:sldChg chg="add">
        <pc:chgData name="Arno Sprengers" userId="b3633e5d-240f-4d61-ba25-be96d5f05fd0" providerId="ADAL" clId="{64EDB46A-7AD6-45A2-8857-D37592608C50}" dt="2022-05-10T13:09:53.361" v="1458"/>
        <pc:sldMkLst>
          <pc:docMk/>
          <pc:sldMk cId="0" sldId="1757"/>
        </pc:sldMkLst>
      </pc:sldChg>
      <pc:sldChg chg="addSp delSp modSp new mod delAnim modAnim">
        <pc:chgData name="Arno Sprengers" userId="b3633e5d-240f-4d61-ba25-be96d5f05fd0" providerId="ADAL" clId="{64EDB46A-7AD6-45A2-8857-D37592608C50}" dt="2022-05-10T13:41:53.949" v="1486"/>
        <pc:sldMkLst>
          <pc:docMk/>
          <pc:sldMk cId="617656913" sldId="1758"/>
        </pc:sldMkLst>
        <pc:spChg chg="del">
          <ac:chgData name="Arno Sprengers" userId="b3633e5d-240f-4d61-ba25-be96d5f05fd0" providerId="ADAL" clId="{64EDB46A-7AD6-45A2-8857-D37592608C50}" dt="2022-05-10T13:41:31.468" v="1482"/>
          <ac:spMkLst>
            <pc:docMk/>
            <pc:sldMk cId="617656913" sldId="1758"/>
            <ac:spMk id="2" creationId="{6AD43F8F-D4EB-40BA-9999-38EF43D756DC}"/>
          </ac:spMkLst>
        </pc:spChg>
        <pc:picChg chg="add del mod">
          <ac:chgData name="Arno Sprengers" userId="b3633e5d-240f-4d61-ba25-be96d5f05fd0" providerId="ADAL" clId="{64EDB46A-7AD6-45A2-8857-D37592608C50}" dt="2022-05-10T13:41:02.568" v="1481" actId="478"/>
          <ac:picMkLst>
            <pc:docMk/>
            <pc:sldMk cId="617656913" sldId="1758"/>
            <ac:picMk id="3" creationId="{2E9B5762-AC56-496C-BE76-694926895579}"/>
          </ac:picMkLst>
        </pc:picChg>
        <pc:picChg chg="add mod">
          <ac:chgData name="Arno Sprengers" userId="b3633e5d-240f-4d61-ba25-be96d5f05fd0" providerId="ADAL" clId="{64EDB46A-7AD6-45A2-8857-D37592608C50}" dt="2022-05-10T13:41:38.294" v="1484" actId="14100"/>
          <ac:picMkLst>
            <pc:docMk/>
            <pc:sldMk cId="617656913" sldId="1758"/>
            <ac:picMk id="4" creationId="{868BE779-5F58-473F-88C4-AD4D2FB62D33}"/>
          </ac:picMkLst>
        </pc:picChg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3336924431" sldId="6382"/>
        </pc:sldMkLst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210356555" sldId="6403"/>
        </pc:sldMkLst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634914248" sldId="6404"/>
        </pc:sldMkLst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1228002470" sldId="6405"/>
        </pc:sldMkLst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3496535031" sldId="6406"/>
        </pc:sldMkLst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3711653006" sldId="6407"/>
        </pc:sldMkLst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959232939" sldId="6408"/>
        </pc:sldMkLst>
      </pc:sldChg>
      <pc:sldChg chg="modSp add del">
        <pc:chgData name="Arno Sprengers" userId="b3633e5d-240f-4d61-ba25-be96d5f05fd0" providerId="ADAL" clId="{64EDB46A-7AD6-45A2-8857-D37592608C50}" dt="2022-05-10T13:07:27.834" v="1457"/>
        <pc:sldMkLst>
          <pc:docMk/>
          <pc:sldMk cId="1288350732" sldId="6409"/>
        </pc:sldMkLst>
        <pc:graphicFrameChg chg="mod">
          <ac:chgData name="Arno Sprengers" userId="b3633e5d-240f-4d61-ba25-be96d5f05fd0" providerId="ADAL" clId="{64EDB46A-7AD6-45A2-8857-D37592608C50}" dt="2022-05-10T13:07:04.469" v="1456"/>
          <ac:graphicFrameMkLst>
            <pc:docMk/>
            <pc:sldMk cId="1288350732" sldId="6409"/>
            <ac:graphicFrameMk id="31" creationId="{6AE2022E-3574-4B2D-B005-DEE5887B9EB9}"/>
          </ac:graphicFrameMkLst>
        </pc:graphicFrameChg>
      </pc:sldChg>
      <pc:sldChg chg="modSp add del">
        <pc:chgData name="Arno Sprengers" userId="b3633e5d-240f-4d61-ba25-be96d5f05fd0" providerId="ADAL" clId="{64EDB46A-7AD6-45A2-8857-D37592608C50}" dt="2022-05-10T13:07:27.834" v="1457"/>
        <pc:sldMkLst>
          <pc:docMk/>
          <pc:sldMk cId="3465768969" sldId="6410"/>
        </pc:sldMkLst>
        <pc:graphicFrameChg chg="mod">
          <ac:chgData name="Arno Sprengers" userId="b3633e5d-240f-4d61-ba25-be96d5f05fd0" providerId="ADAL" clId="{64EDB46A-7AD6-45A2-8857-D37592608C50}" dt="2022-05-10T13:07:04.469" v="1456"/>
          <ac:graphicFrameMkLst>
            <pc:docMk/>
            <pc:sldMk cId="3465768969" sldId="6410"/>
            <ac:graphicFrameMk id="31" creationId="{6AE2022E-3574-4B2D-B005-DEE5887B9EB9}"/>
          </ac:graphicFrameMkLst>
        </pc:graphicFrameChg>
      </pc:sldChg>
      <pc:sldChg chg="modSp add del">
        <pc:chgData name="Arno Sprengers" userId="b3633e5d-240f-4d61-ba25-be96d5f05fd0" providerId="ADAL" clId="{64EDB46A-7AD6-45A2-8857-D37592608C50}" dt="2022-05-10T13:07:27.834" v="1457"/>
        <pc:sldMkLst>
          <pc:docMk/>
          <pc:sldMk cId="3269447232" sldId="6411"/>
        </pc:sldMkLst>
        <pc:graphicFrameChg chg="mod">
          <ac:chgData name="Arno Sprengers" userId="b3633e5d-240f-4d61-ba25-be96d5f05fd0" providerId="ADAL" clId="{64EDB46A-7AD6-45A2-8857-D37592608C50}" dt="2022-05-10T13:07:04.469" v="1456"/>
          <ac:graphicFrameMkLst>
            <pc:docMk/>
            <pc:sldMk cId="3269447232" sldId="6411"/>
            <ac:graphicFrameMk id="31" creationId="{6AE2022E-3574-4B2D-B005-DEE5887B9EB9}"/>
          </ac:graphicFrameMkLst>
        </pc:graphicFrameChg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3384370567" sldId="6412"/>
        </pc:sldMkLst>
      </pc:sldChg>
      <pc:sldChg chg="modSp add del">
        <pc:chgData name="Arno Sprengers" userId="b3633e5d-240f-4d61-ba25-be96d5f05fd0" providerId="ADAL" clId="{64EDB46A-7AD6-45A2-8857-D37592608C50}" dt="2022-05-10T13:07:27.834" v="1457"/>
        <pc:sldMkLst>
          <pc:docMk/>
          <pc:sldMk cId="1629172887" sldId="6413"/>
        </pc:sldMkLst>
        <pc:graphicFrameChg chg="mod">
          <ac:chgData name="Arno Sprengers" userId="b3633e5d-240f-4d61-ba25-be96d5f05fd0" providerId="ADAL" clId="{64EDB46A-7AD6-45A2-8857-D37592608C50}" dt="2022-05-10T13:07:04.469" v="1456"/>
          <ac:graphicFrameMkLst>
            <pc:docMk/>
            <pc:sldMk cId="1629172887" sldId="6413"/>
            <ac:graphicFrameMk id="31" creationId="{6AE2022E-3574-4B2D-B005-DEE5887B9EB9}"/>
          </ac:graphicFrameMkLst>
        </pc:graphicFrameChg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1130182954" sldId="6414"/>
        </pc:sldMkLst>
      </pc:sldChg>
      <pc:sldChg chg="modSp add del">
        <pc:chgData name="Arno Sprengers" userId="b3633e5d-240f-4d61-ba25-be96d5f05fd0" providerId="ADAL" clId="{64EDB46A-7AD6-45A2-8857-D37592608C50}" dt="2022-05-10T13:07:27.834" v="1457"/>
        <pc:sldMkLst>
          <pc:docMk/>
          <pc:sldMk cId="316584536" sldId="6415"/>
        </pc:sldMkLst>
        <pc:graphicFrameChg chg="mod">
          <ac:chgData name="Arno Sprengers" userId="b3633e5d-240f-4d61-ba25-be96d5f05fd0" providerId="ADAL" clId="{64EDB46A-7AD6-45A2-8857-D37592608C50}" dt="2022-05-10T13:07:04.469" v="1456"/>
          <ac:graphicFrameMkLst>
            <pc:docMk/>
            <pc:sldMk cId="316584536" sldId="6415"/>
            <ac:graphicFrameMk id="31" creationId="{6AE2022E-3574-4B2D-B005-DEE5887B9EB9}"/>
          </ac:graphicFrameMkLst>
        </pc:graphicFrameChg>
      </pc:sldChg>
      <pc:sldChg chg="add del">
        <pc:chgData name="Arno Sprengers" userId="b3633e5d-240f-4d61-ba25-be96d5f05fd0" providerId="ADAL" clId="{64EDB46A-7AD6-45A2-8857-D37592608C50}" dt="2022-05-10T13:07:27.834" v="1457"/>
        <pc:sldMkLst>
          <pc:docMk/>
          <pc:sldMk cId="3385938732" sldId="6416"/>
        </pc:sldMkLst>
      </pc:sldChg>
      <pc:sldMasterChg chg="modSldLayout">
        <pc:chgData name="Arno Sprengers" userId="b3633e5d-240f-4d61-ba25-be96d5f05fd0" providerId="ADAL" clId="{64EDB46A-7AD6-45A2-8857-D37592608C50}" dt="2022-04-15T16:31:15.718" v="121" actId="113"/>
        <pc:sldMasterMkLst>
          <pc:docMk/>
          <pc:sldMasterMk cId="1242637123" sldId="2147483648"/>
        </pc:sldMasterMkLst>
        <pc:sldLayoutChg chg="modSp">
          <pc:chgData name="Arno Sprengers" userId="b3633e5d-240f-4d61-ba25-be96d5f05fd0" providerId="ADAL" clId="{64EDB46A-7AD6-45A2-8857-D37592608C50}" dt="2022-04-15T16:31:15.718" v="121" actId="113"/>
          <pc:sldLayoutMkLst>
            <pc:docMk/>
            <pc:sldMasterMk cId="1242637123" sldId="2147483648"/>
            <pc:sldLayoutMk cId="723380080" sldId="2147483650"/>
          </pc:sldLayoutMkLst>
          <pc:spChg chg="mod">
            <ac:chgData name="Arno Sprengers" userId="b3633e5d-240f-4d61-ba25-be96d5f05fd0" providerId="ADAL" clId="{64EDB46A-7AD6-45A2-8857-D37592608C50}" dt="2022-04-15T16:31:15.718" v="121" actId="113"/>
            <ac:spMkLst>
              <pc:docMk/>
              <pc:sldMasterMk cId="1242637123" sldId="2147483648"/>
              <pc:sldLayoutMk cId="723380080" sldId="2147483650"/>
              <ac:spMk id="2" creationId="{E9282AD9-F985-49E3-AF3F-D3DBDBAEFF63}"/>
            </ac:spMkLst>
          </pc:spChg>
        </pc:sldLayoutChg>
      </pc:sldMasterChg>
      <pc:sldMasterChg chg="new mod addSldLayout">
        <pc:chgData name="Arno Sprengers" userId="b3633e5d-240f-4d61-ba25-be96d5f05fd0" providerId="ADAL" clId="{64EDB46A-7AD6-45A2-8857-D37592608C50}" dt="2022-04-15T16:31:28.367" v="122" actId="6938"/>
        <pc:sldMasterMkLst>
          <pc:docMk/>
          <pc:sldMasterMk cId="3859552200" sldId="2147483684"/>
        </pc:sldMasterMkLst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3573260476" sldId="2147483685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1459810292" sldId="2147483686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2600261506" sldId="2147483687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3488490690" sldId="2147483688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2622369664" sldId="2147483689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2645273938" sldId="2147483690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3833480509" sldId="2147483691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1829912173" sldId="2147483692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3578816441" sldId="2147483693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2757002114" sldId="2147483694"/>
          </pc:sldLayoutMkLst>
        </pc:sldLayoutChg>
        <pc:sldLayoutChg chg="new replId">
          <pc:chgData name="Arno Sprengers" userId="b3633e5d-240f-4d61-ba25-be96d5f05fd0" providerId="ADAL" clId="{64EDB46A-7AD6-45A2-8857-D37592608C50}" dt="2022-04-15T16:31:28.367" v="122" actId="6938"/>
          <pc:sldLayoutMkLst>
            <pc:docMk/>
            <pc:sldMasterMk cId="3859552200" sldId="2147483684"/>
            <pc:sldLayoutMk cId="2963430297" sldId="2147483695"/>
          </pc:sldLayoutMkLst>
        </pc:sldLayoutChg>
      </pc:sldMasterChg>
    </pc:docChg>
  </pc:docChgLst>
  <pc:docChgLst>
    <pc:chgData name="jeroen" userId="S::jeroen_vorstlearningdevelopment.nl#ext#@knowledgesharingcentre.onmicrosoft.com::b8f52c7f-1841-40f8-8f92-72b711465856" providerId="AD" clId="Web-{FC95025E-8A9C-4DF7-B2CE-08BB801B869A}"/>
    <pc:docChg chg="modSld">
      <pc:chgData name="jeroen" userId="S::jeroen_vorstlearningdevelopment.nl#ext#@knowledgesharingcentre.onmicrosoft.com::b8f52c7f-1841-40f8-8f92-72b711465856" providerId="AD" clId="Web-{FC95025E-8A9C-4DF7-B2CE-08BB801B869A}" dt="2022-04-29T07:26:29.382" v="0" actId="20577"/>
      <pc:docMkLst>
        <pc:docMk/>
      </pc:docMkLst>
      <pc:sldChg chg="modSp">
        <pc:chgData name="jeroen" userId="S::jeroen_vorstlearningdevelopment.nl#ext#@knowledgesharingcentre.onmicrosoft.com::b8f52c7f-1841-40f8-8f92-72b711465856" providerId="AD" clId="Web-{FC95025E-8A9C-4DF7-B2CE-08BB801B869A}" dt="2022-04-29T07:26:29.382" v="0" actId="20577"/>
        <pc:sldMkLst>
          <pc:docMk/>
          <pc:sldMk cId="3150504194" sldId="258"/>
        </pc:sldMkLst>
        <pc:spChg chg="mod">
          <ac:chgData name="jeroen" userId="S::jeroen_vorstlearningdevelopment.nl#ext#@knowledgesharingcentre.onmicrosoft.com::b8f52c7f-1841-40f8-8f92-72b711465856" providerId="AD" clId="Web-{FC95025E-8A9C-4DF7-B2CE-08BB801B869A}" dt="2022-04-29T07:26:29.382" v="0" actId="20577"/>
          <ac:spMkLst>
            <pc:docMk/>
            <pc:sldMk cId="3150504194" sldId="258"/>
            <ac:spMk id="6" creationId="{01202F8F-E5CF-43B9-B5A6-FB805D7DE11E}"/>
          </ac:spMkLst>
        </pc:spChg>
      </pc:sldChg>
    </pc:docChg>
  </pc:docChgLst>
  <pc:docChgLst>
    <pc:chgData name="Arno Sprengers" userId="S::arno.sprengers@knowledgesharingcentre.onmicrosoft.com::b3633e5d-240f-4d61-ba25-be96d5f05fd0" providerId="AD" clId="Web-{85BB0CDA-EF8E-4182-84FE-46D778660E07}"/>
    <pc:docChg chg="modSld">
      <pc:chgData name="Arno Sprengers" userId="S::arno.sprengers@knowledgesharingcentre.onmicrosoft.com::b3633e5d-240f-4d61-ba25-be96d5f05fd0" providerId="AD" clId="Web-{85BB0CDA-EF8E-4182-84FE-46D778660E07}" dt="2022-05-08T14:30:33.906" v="0" actId="20577"/>
      <pc:docMkLst>
        <pc:docMk/>
      </pc:docMkLst>
      <pc:sldChg chg="modSp">
        <pc:chgData name="Arno Sprengers" userId="S::arno.sprengers@knowledgesharingcentre.onmicrosoft.com::b3633e5d-240f-4d61-ba25-be96d5f05fd0" providerId="AD" clId="Web-{85BB0CDA-EF8E-4182-84FE-46D778660E07}" dt="2022-05-08T14:30:33.906" v="0" actId="20577"/>
        <pc:sldMkLst>
          <pc:docMk/>
          <pc:sldMk cId="3289162447" sldId="260"/>
        </pc:sldMkLst>
        <pc:spChg chg="mod">
          <ac:chgData name="Arno Sprengers" userId="S::arno.sprengers@knowledgesharingcentre.onmicrosoft.com::b3633e5d-240f-4d61-ba25-be96d5f05fd0" providerId="AD" clId="Web-{85BB0CDA-EF8E-4182-84FE-46D778660E07}" dt="2022-05-08T14:30:33.906" v="0" actId="20577"/>
          <ac:spMkLst>
            <pc:docMk/>
            <pc:sldMk cId="3289162447" sldId="260"/>
            <ac:spMk id="6" creationId="{01202F8F-E5CF-43B9-B5A6-FB805D7DE11E}"/>
          </ac:spMkLst>
        </pc:spChg>
      </pc:sldChg>
    </pc:docChg>
  </pc:docChgLst>
  <pc:docChgLst>
    <pc:chgData name="Arno Sprengers" userId="S::arno.sprengers@knowledgesharingcentre.onmicrosoft.com::b3633e5d-240f-4d61-ba25-be96d5f05fd0" providerId="AD" clId="Web-{27D14F3D-B2B6-4694-AE36-B7CCC4CDD7E8}"/>
    <pc:docChg chg="delSld sldOrd">
      <pc:chgData name="Arno Sprengers" userId="S::arno.sprengers@knowledgesharingcentre.onmicrosoft.com::b3633e5d-240f-4d61-ba25-be96d5f05fd0" providerId="AD" clId="Web-{27D14F3D-B2B6-4694-AE36-B7CCC4CDD7E8}" dt="2022-04-29T06:52:33.058" v="1"/>
      <pc:docMkLst>
        <pc:docMk/>
      </pc:docMkLst>
      <pc:sldChg chg="ord">
        <pc:chgData name="Arno Sprengers" userId="S::arno.sprengers@knowledgesharingcentre.onmicrosoft.com::b3633e5d-240f-4d61-ba25-be96d5f05fd0" providerId="AD" clId="Web-{27D14F3D-B2B6-4694-AE36-B7CCC4CDD7E8}" dt="2022-04-29T06:52:15.402" v="0"/>
        <pc:sldMkLst>
          <pc:docMk/>
          <pc:sldMk cId="3150504194" sldId="258"/>
        </pc:sldMkLst>
      </pc:sldChg>
      <pc:sldChg chg="del">
        <pc:chgData name="Arno Sprengers" userId="S::arno.sprengers@knowledgesharingcentre.onmicrosoft.com::b3633e5d-240f-4d61-ba25-be96d5f05fd0" providerId="AD" clId="Web-{27D14F3D-B2B6-4694-AE36-B7CCC4CDD7E8}" dt="2022-04-29T06:52:33.058" v="1"/>
        <pc:sldMkLst>
          <pc:docMk/>
          <pc:sldMk cId="3131062446" sldId="269"/>
        </pc:sldMkLst>
      </pc:sldChg>
    </pc:docChg>
  </pc:docChgLst>
  <pc:docChgLst>
    <pc:chgData name="info" userId="S::info_lieshoutconsultancy.nl#ext#@knowledgesharingcentre.onmicrosoft.com::c359e2c0-b881-484a-b222-ae8885e587e1" providerId="AD" clId="Web-{FD50639B-DA70-477E-862C-7892EAA79BF8}"/>
    <pc:docChg chg="modSld">
      <pc:chgData name="info" userId="S::info_lieshoutconsultancy.nl#ext#@knowledgesharingcentre.onmicrosoft.com::c359e2c0-b881-484a-b222-ae8885e587e1" providerId="AD" clId="Web-{FD50639B-DA70-477E-862C-7892EAA79BF8}" dt="2022-04-17T05:29:54.407" v="58"/>
      <pc:docMkLst>
        <pc:docMk/>
      </pc:docMkLst>
      <pc:sldChg chg="addSp delSp modSp">
        <pc:chgData name="info" userId="S::info_lieshoutconsultancy.nl#ext#@knowledgesharingcentre.onmicrosoft.com::c359e2c0-b881-484a-b222-ae8885e587e1" providerId="AD" clId="Web-{FD50639B-DA70-477E-862C-7892EAA79BF8}" dt="2022-04-17T05:29:54.407" v="58"/>
        <pc:sldMkLst>
          <pc:docMk/>
          <pc:sldMk cId="135928992" sldId="268"/>
        </pc:sldMkLst>
        <pc:spChg chg="mod">
          <ac:chgData name="info" userId="S::info_lieshoutconsultancy.nl#ext#@knowledgesharingcentre.onmicrosoft.com::c359e2c0-b881-484a-b222-ae8885e587e1" providerId="AD" clId="Web-{FD50639B-DA70-477E-862C-7892EAA79BF8}" dt="2022-04-17T05:24:08.560" v="10"/>
          <ac:spMkLst>
            <pc:docMk/>
            <pc:sldMk cId="135928992" sldId="268"/>
            <ac:spMk id="2" creationId="{0F5424D4-2C62-4A78-B900-2D07A8138951}"/>
          </ac:spMkLst>
        </pc:spChg>
        <pc:spChg chg="add del">
          <ac:chgData name="info" userId="S::info_lieshoutconsultancy.nl#ext#@knowledgesharingcentre.onmicrosoft.com::c359e2c0-b881-484a-b222-ae8885e587e1" providerId="AD" clId="Web-{FD50639B-DA70-477E-862C-7892EAA79BF8}" dt="2022-04-17T05:23:47.230" v="9"/>
          <ac:spMkLst>
            <pc:docMk/>
            <pc:sldMk cId="135928992" sldId="268"/>
            <ac:spMk id="3" creationId="{C57746AD-2A8C-45E0-8332-FEE383BA3D05}"/>
          </ac:spMkLst>
        </pc:spChg>
        <pc:picChg chg="add del mod ord">
          <ac:chgData name="info" userId="S::info_lieshoutconsultancy.nl#ext#@knowledgesharingcentre.onmicrosoft.com::c359e2c0-b881-484a-b222-ae8885e587e1" providerId="AD" clId="Web-{FD50639B-DA70-477E-862C-7892EAA79BF8}" dt="2022-04-17T05:22:51.305" v="1"/>
          <ac:picMkLst>
            <pc:docMk/>
            <pc:sldMk cId="135928992" sldId="268"/>
            <ac:picMk id="5" creationId="{FBB30D73-724B-616D-8875-F8670B04D935}"/>
          </ac:picMkLst>
        </pc:picChg>
        <pc:picChg chg="add del mod ord">
          <ac:chgData name="info" userId="S::info_lieshoutconsultancy.nl#ext#@knowledgesharingcentre.onmicrosoft.com::c359e2c0-b881-484a-b222-ae8885e587e1" providerId="AD" clId="Web-{FD50639B-DA70-477E-862C-7892EAA79BF8}" dt="2022-04-17T05:23:16.979" v="5"/>
          <ac:picMkLst>
            <pc:docMk/>
            <pc:sldMk cId="135928992" sldId="268"/>
            <ac:picMk id="6" creationId="{D67BB337-5E17-2790-0E05-64AA18DC21EB}"/>
          </ac:picMkLst>
        </pc:picChg>
        <pc:picChg chg="add del mod">
          <ac:chgData name="info" userId="S::info_lieshoutconsultancy.nl#ext#@knowledgesharingcentre.onmicrosoft.com::c359e2c0-b881-484a-b222-ae8885e587e1" providerId="AD" clId="Web-{FD50639B-DA70-477E-862C-7892EAA79BF8}" dt="2022-04-17T05:26:44.262" v="33"/>
          <ac:picMkLst>
            <pc:docMk/>
            <pc:sldMk cId="135928992" sldId="268"/>
            <ac:picMk id="7" creationId="{DA2DF2E4-7133-AB50-5F53-C2A720E941B7}"/>
          </ac:picMkLst>
        </pc:picChg>
        <pc:picChg chg="add del mod">
          <ac:chgData name="info" userId="S::info_lieshoutconsultancy.nl#ext#@knowledgesharingcentre.onmicrosoft.com::c359e2c0-b881-484a-b222-ae8885e587e1" providerId="AD" clId="Web-{FD50639B-DA70-477E-862C-7892EAA79BF8}" dt="2022-04-17T05:25:00.533" v="17"/>
          <ac:picMkLst>
            <pc:docMk/>
            <pc:sldMk cId="135928992" sldId="268"/>
            <ac:picMk id="8" creationId="{C7C3FAA8-06FE-30A2-C58D-D12A861F0F08}"/>
          </ac:picMkLst>
        </pc:picChg>
        <pc:picChg chg="add del mod">
          <ac:chgData name="info" userId="S::info_lieshoutconsultancy.nl#ext#@knowledgesharingcentre.onmicrosoft.com::c359e2c0-b881-484a-b222-ae8885e587e1" providerId="AD" clId="Web-{FD50639B-DA70-477E-862C-7892EAA79BF8}" dt="2022-04-17T05:27:29.531" v="37"/>
          <ac:picMkLst>
            <pc:docMk/>
            <pc:sldMk cId="135928992" sldId="268"/>
            <ac:picMk id="11" creationId="{2E5D6C27-FD9B-00CE-1619-2CAF6C87113D}"/>
          </ac:picMkLst>
        </pc:picChg>
        <pc:picChg chg="add del mod">
          <ac:chgData name="info" userId="S::info_lieshoutconsultancy.nl#ext#@knowledgesharingcentre.onmicrosoft.com::c359e2c0-b881-484a-b222-ae8885e587e1" providerId="AD" clId="Web-{FD50639B-DA70-477E-862C-7892EAA79BF8}" dt="2022-04-17T05:28:24.737" v="51"/>
          <ac:picMkLst>
            <pc:docMk/>
            <pc:sldMk cId="135928992" sldId="268"/>
            <ac:picMk id="12" creationId="{FB4D410F-7F5F-6D38-5E15-790FC17D480D}"/>
          </ac:picMkLst>
        </pc:picChg>
        <pc:picChg chg="add mod">
          <ac:chgData name="info" userId="S::info_lieshoutconsultancy.nl#ext#@knowledgesharingcentre.onmicrosoft.com::c359e2c0-b881-484a-b222-ae8885e587e1" providerId="AD" clId="Web-{FD50639B-DA70-477E-862C-7892EAA79BF8}" dt="2022-04-17T05:28:09.205" v="47" actId="1076"/>
          <ac:picMkLst>
            <pc:docMk/>
            <pc:sldMk cId="135928992" sldId="268"/>
            <ac:picMk id="13" creationId="{E1BE036A-8623-62E0-334E-153C205709AA}"/>
          </ac:picMkLst>
        </pc:picChg>
        <pc:picChg chg="add mod">
          <ac:chgData name="info" userId="S::info_lieshoutconsultancy.nl#ext#@knowledgesharingcentre.onmicrosoft.com::c359e2c0-b881-484a-b222-ae8885e587e1" providerId="AD" clId="Web-{FD50639B-DA70-477E-862C-7892EAA79BF8}" dt="2022-04-17T05:28:12.986" v="48" actId="14100"/>
          <ac:picMkLst>
            <pc:docMk/>
            <pc:sldMk cId="135928992" sldId="268"/>
            <ac:picMk id="14" creationId="{981A411F-88ED-1112-9704-C04AAF0C52FD}"/>
          </ac:picMkLst>
        </pc:picChg>
        <pc:cxnChg chg="add mod">
          <ac:chgData name="info" userId="S::info_lieshoutconsultancy.nl#ext#@knowledgesharingcentre.onmicrosoft.com::c359e2c0-b881-484a-b222-ae8885e587e1" providerId="AD" clId="Web-{FD50639B-DA70-477E-862C-7892EAA79BF8}" dt="2022-04-17T05:25:04.658" v="19" actId="1076"/>
          <ac:cxnSpMkLst>
            <pc:docMk/>
            <pc:sldMk cId="135928992" sldId="268"/>
            <ac:cxnSpMk id="10" creationId="{7A09FEA2-5352-EFA7-69C7-D9F14FDF5551}"/>
          </ac:cxnSpMkLst>
        </pc:cxnChg>
        <pc:cxnChg chg="add del mod">
          <ac:chgData name="info" userId="S::info_lieshoutconsultancy.nl#ext#@knowledgesharingcentre.onmicrosoft.com::c359e2c0-b881-484a-b222-ae8885e587e1" providerId="AD" clId="Web-{FD50639B-DA70-477E-862C-7892EAA79BF8}" dt="2022-04-17T05:29:54.407" v="58"/>
          <ac:cxnSpMkLst>
            <pc:docMk/>
            <pc:sldMk cId="135928992" sldId="268"/>
            <ac:cxnSpMk id="15" creationId="{52C9DB9F-CE0B-BC0D-D64E-363ABF91D1A3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80AFFE-854D-4214-94C4-1A4D16910D24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F26251-3D80-4FF0-A244-1E0518628DC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5388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69376B9F-730F-4C64-A472-339C8F334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5D76056-CDCC-4F31-81DC-6999E2A463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D98945E-449C-4CC8-84C6-8C9C40B7D9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C09580C-01E1-41A6-BF76-646830F563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02E2C41-337C-4C32-B451-29787BCD30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57903D5A-3C19-4B84-A4E4-25418331DC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9200" y="6356350"/>
            <a:ext cx="1981200" cy="291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5674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39D7FF9-C4A5-4DE1-B67D-137EE788C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C4CBE23D-0C8E-4E26-87D9-A2F288A8DD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7FCD8E0-36DE-4186-ACA4-53455E9C30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2DC025F-7997-4D0B-92AA-B5FB5E3096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A8FD221-5F09-40AD-9DD9-01473BCBB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452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03780429-833A-4BB4-8916-EAB7631EA5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72CEF3B3-6800-4407-BCFC-E20A834458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2670D49-BE50-4DCC-8FC6-3FBDABD41A7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E863580-C520-4402-A091-D5DF88426D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0A4675A-DF89-4AFA-9AF3-B5F5558BC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1745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5C4700-C3BF-4CD6-A621-86B98909DF3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63909233-AEEE-40C2-BDB1-1D5FC89B79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92D0775-0132-4B1E-8DB2-3917BDC074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D3B1939-67B7-4759-9FE6-17270AECA7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6627214-27AA-4FF9-AC2E-B692EA59A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2604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8A6F0-E886-454B-9154-A32C803ABC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5F13E46-BD2D-485C-B032-9255783D74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F83A582-29CF-42FF-A6A0-7B590B07D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17E66F5-41A2-4ADE-9787-F2C0AAF8D8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CD8BF7B-510A-4B42-B967-391D18D03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98102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A928A6-6AB4-4548-AB72-2A2D35F09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891591D2-FDBC-415B-AD2B-94FAE12565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DED1D3E-0758-4EEC-A5F9-314173A76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54AC0F0-E8BE-4D33-805A-910CB78A8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F11CA0C-1266-462D-A64A-4BAD9A086C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2615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92D8FA-3A9C-4888-BEBA-599EEF04C0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EF330A4-1280-425F-99D0-EFCF9C47B9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520FFDB-D917-4D7B-BC88-EA2AFB8110B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8011F5CA-0126-4E13-A9B3-563DEE7A23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8A514AA1-915B-4AE6-854F-C4D10A4EE5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6855847-35CA-4896-AFF3-344AADE110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4906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751325-2F05-462E-A594-9C686CF28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29D0F37-7544-4637-A34B-D207EB4DB2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A1E1AC4A-01ED-4F70-BC69-06D5A3CA31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404CAAED-E6EE-407E-92F9-B0F16282468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F797302D-838C-436E-8F0A-2AEC89869AD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4D185676-01A5-43EE-A48E-658286C441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2920F2A9-23C8-42AB-8F9B-B3B8B1BD39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4E8345B4-C8AF-4F75-B4DE-97C182A3A0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3696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EC5BD0-BDAC-44CA-A28D-AD0BA34460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9459783-D476-4C25-B6FB-805E768DC4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298F3EA7-38A4-4796-84A8-1C11C4A01B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4EF8F5FF-A822-49DE-A173-4C4D493E6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2739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5238E7E8-0ABB-47E6-B5AC-2C3EBD1599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83B0A0A2-8084-422D-A0B6-1C1D38265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C523279-6D8B-44B3-A93C-14600D5F5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4805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7A258F-C287-484F-9556-C4482E0DF2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ECF74BA-FBAE-4E25-86D3-E538C103B9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053A342B-8AB3-42B2-A984-549DEA6522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BA74CDF4-92B6-4800-837B-E87814B70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F09D9CD-5647-4D79-8A87-A0A019AFB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FC47112-E732-4525-B004-F2FFE50B9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9121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9282AD9-F985-49E3-AF3F-D3DBDBAEF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60290"/>
          </a:xfrm>
        </p:spPr>
        <p:txBody>
          <a:bodyPr/>
          <a:lstStyle>
            <a:lvl1pPr>
              <a:defRPr b="1">
                <a:latin typeface="Barlow" panose="00000500000000000000" pitchFamily="2" charset="0"/>
              </a:defRPr>
            </a:lvl1pPr>
          </a:lstStyle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E61ADB9-0354-44D4-A69F-F2E7065FCC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59877"/>
            <a:ext cx="10515600" cy="4817086"/>
          </a:xfrm>
        </p:spPr>
        <p:txBody>
          <a:bodyPr/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5E2E57E-63B9-498C-9A68-DC54E2A168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183874"/>
            <a:ext cx="2743200" cy="365125"/>
          </a:xfrm>
          <a:prstGeom prst="rect">
            <a:avLst/>
          </a:prstGeom>
        </p:spPr>
        <p:txBody>
          <a:bodyPr/>
          <a:lstStyle>
            <a:lvl1pPr marL="0" indent="0">
              <a:buFont typeface="+mj-lt"/>
              <a:buNone/>
              <a:defRPr>
                <a:solidFill>
                  <a:schemeClr val="tx1"/>
                </a:solidFill>
              </a:defRPr>
            </a:lvl1pPr>
          </a:lstStyle>
          <a:p>
            <a:fld id="{088EB633-4A45-4AEB-BF8F-4F0AEB6ED81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92B0BCE1-40DE-423F-AB14-A8780A99FB62}"/>
              </a:ext>
            </a:extLst>
          </p:cNvPr>
          <p:cNvSpPr txBox="1"/>
          <p:nvPr userDrawn="1"/>
        </p:nvSpPr>
        <p:spPr>
          <a:xfrm>
            <a:off x="4038599" y="6211669"/>
            <a:ext cx="41148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Barlow" panose="00000500000000000000" pitchFamily="2" charset="0"/>
              </a:rPr>
              <a:t>www.knowledgesharingcentre.com</a:t>
            </a:r>
          </a:p>
          <a:p>
            <a:endParaRPr lang="en-US" dirty="0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B52747D-CA6B-4656-947D-295B73BB9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6204872"/>
            <a:ext cx="2198077" cy="323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3800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F04B6A-54EC-48D7-AAC3-ACFF5BE8C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F55D8C6C-A3C0-4C71-B3B3-C70D1FDCB1B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E4E8FBB-268F-488B-AFE9-B4D7CD92E2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0645F01-7D63-4050-B8CB-373BFD07A4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8170F802-B515-41E9-B72A-A93B18673A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C8DE4A9D-FC4D-4553-82F6-7E747FDDE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8164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64B6A0-7B5E-48CB-A4A4-ABF9A4C89C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483AE90C-229C-4841-A737-22691DFF36F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AB613F-5B89-4649-9D5D-43170B0E6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773D02C-6FFB-4859-AFA1-7BD56CCFF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F13AAE5-C15A-4349-938C-848345B2C0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70021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A3E14BC7-EFB3-4B10-870F-BC7A9899E0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6E31824A-9DCC-421A-9B71-9B0F1689FE5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206FE4B-9E7B-4551-B81C-DE047A544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E2B2A48-5894-4993-A3B4-A8B56965EF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10C59F89-9ABF-46B8-BA4E-B683E151E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4302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E6D2DF-C75D-456A-81E9-2469A6CBB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13C639E-D17B-42A4-9E51-F6B0825DDC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CFF0C923-96EF-45E2-B37D-89F25D2424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A3DDF1D-7FF0-4275-B4FE-3C527C480E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709C6CE-31E6-4629-8BE2-52949ED32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2703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56C8A0D-2847-4421-BDBD-CAC517CBA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896BF65-5651-4F9D-9AC0-7A3C56694A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9ABC3195-2AC5-4EB9-87F5-B8A2CF9902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BCF0ACD-385D-489E-98F8-999745D8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AAD92568-0D19-4548-BAB3-2C9379F0B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9BFD5A35-7C8B-47F9-A500-AC0BE4AED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6282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F09D01-3479-4C75-96BB-D385C5268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95942A7-A0D5-4169-BA16-3F9ED045E6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7427D011-C373-4E81-87DE-321B0A3CD3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81976440-7134-446C-8075-3A85F89AE3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86BDABAA-817A-47F3-A726-38075C094E7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96DB7BF7-4D21-4AA2-88C7-72D78AD82E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66428D99-0EE5-4C38-866E-4AB3B384C0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F79DACCD-E93A-4D74-A147-1876053F8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7123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A7124BB-3F83-4FC0-B851-A94DC6558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DD360796-1B3E-4B9B-B5B1-D6F38E18E2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29CF4D01-97D5-4038-88B1-7336407FB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2CEAACC-7E9B-49EB-BE3F-6F8A39B06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474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17CFBA21-B6EC-4A49-9D01-E2FC3EBE77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80798342-3D2E-4099-8028-B098C75D0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02C7756-0F80-4D9B-9F2D-76610E35D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789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845D29-3D31-4212-8C1C-7E5764B33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9FD1C3E6-99CC-444F-80FA-B59F13FB2C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0D196FD-5215-42E5-BCF1-7CFE219514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7C319D3-B8F0-4CBA-9844-C235C32C9A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7F7880FB-E3A4-43AB-ACAD-A6103100B3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012DCD52-AA14-4D32-81C3-1D7FD05A7B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9960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F9D67A-BEDB-4736-8C6E-293405EFE2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28E04106-DBDD-4A5E-8F09-7C1F40F027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E4355A5-60AA-48C5-840B-ADAF494BEB2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BA10B486-771A-4406-9681-F45C1788B8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F43DA45-240F-411A-B3AF-9BE23A2F52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ww.knowledgesharingcentre.com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E664C59-9E44-4A77-A025-1B372FEAB9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88EB633-4A45-4AEB-BF8F-4F0AEB6ED81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980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A3F06838-4FAB-44CC-BCEB-4AFFBC048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C89FA26D-E194-48BD-8DBF-EE197C9954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C751518B-878A-4F36-82A2-9E28502F2C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www.knowledgesharingcentre.com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10C4B51-C88D-4327-B455-EEA81D90F9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8EB633-4A45-4AEB-BF8F-4F0AEB6ED818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9" name="MSIPCMContentMarking" descr="{&quot;HashCode&quot;:1596673254,&quot;Placement&quot;:&quot;Footer&quot;,&quot;Top&quot;:524.1047,&quot;Left&quot;:923.827,&quot;SlideWidth&quot;:960,&quot;SlideHeight&quot;:540}">
            <a:extLst>
              <a:ext uri="{FF2B5EF4-FFF2-40B4-BE49-F238E27FC236}">
                <a16:creationId xmlns:a16="http://schemas.microsoft.com/office/drawing/2014/main" id="{0CA3A7B0-FB67-4F54-A679-C7D82E8F3CDF}"/>
              </a:ext>
            </a:extLst>
          </p:cNvPr>
          <p:cNvSpPr txBox="1"/>
          <p:nvPr userDrawn="1"/>
        </p:nvSpPr>
        <p:spPr>
          <a:xfrm>
            <a:off x="11732603" y="6656129"/>
            <a:ext cx="459397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1242637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EB40BDAC-8DC5-428C-BE72-738F22F514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147C9C4-14D0-4324-88F8-847CC5DD61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BB3EBC4-F67E-43F3-B83B-241AFCCB06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11C6FC-FFE7-4128-9560-B93C94487EBB}" type="datetimeFigureOut">
              <a:rPr lang="en-US" smtClean="0"/>
              <a:t>5/12/2022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BD38A5B-6485-4EF1-92E4-5EBF707DF9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FC5BF1A-E691-488A-B029-DCC490F59B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2125C4-DB0C-4457-A2CE-8F74D3157EFE}" type="slidenum">
              <a:rPr lang="en-US" smtClean="0"/>
              <a:t>‹nr.›</a:t>
            </a:fld>
            <a:endParaRPr lang="en-US"/>
          </a:p>
        </p:txBody>
      </p:sp>
      <p:sp>
        <p:nvSpPr>
          <p:cNvPr id="7" name="MSIPCMContentMarking" descr="{&quot;HashCode&quot;:1596673254,&quot;Placement&quot;:&quot;Footer&quot;,&quot;Top&quot;:524.1047,&quot;Left&quot;:923.827,&quot;SlideWidth&quot;:960,&quot;SlideHeight&quot;:540}">
            <a:extLst>
              <a:ext uri="{FF2B5EF4-FFF2-40B4-BE49-F238E27FC236}">
                <a16:creationId xmlns:a16="http://schemas.microsoft.com/office/drawing/2014/main" id="{1BBF241A-289D-496C-8D38-F636A4F03659}"/>
              </a:ext>
            </a:extLst>
          </p:cNvPr>
          <p:cNvSpPr txBox="1"/>
          <p:nvPr userDrawn="1"/>
        </p:nvSpPr>
        <p:spPr>
          <a:xfrm>
            <a:off x="11732603" y="6656129"/>
            <a:ext cx="459397" cy="20187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rgbClr val="000000"/>
                </a:solidFill>
                <a:latin typeface="Arial" panose="020B060402020202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38595522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.png"/><Relationship Id="rId18" Type="http://schemas.openxmlformats.org/officeDocument/2006/relationships/image" Target="../media/image21.jpg"/><Relationship Id="rId26" Type="http://schemas.openxmlformats.org/officeDocument/2006/relationships/image" Target="../media/image29.jpg"/><Relationship Id="rId39" Type="http://schemas.openxmlformats.org/officeDocument/2006/relationships/image" Target="../media/image42.png"/><Relationship Id="rId21" Type="http://schemas.openxmlformats.org/officeDocument/2006/relationships/image" Target="../media/image24.png"/><Relationship Id="rId34" Type="http://schemas.openxmlformats.org/officeDocument/2006/relationships/image" Target="../media/image37.png"/><Relationship Id="rId42" Type="http://schemas.openxmlformats.org/officeDocument/2006/relationships/image" Target="../media/image45.jpg"/><Relationship Id="rId47" Type="http://schemas.openxmlformats.org/officeDocument/2006/relationships/image" Target="../media/image50.png"/><Relationship Id="rId50" Type="http://schemas.openxmlformats.org/officeDocument/2006/relationships/image" Target="../media/image53.jpg"/><Relationship Id="rId55" Type="http://schemas.openxmlformats.org/officeDocument/2006/relationships/image" Target="../media/image58.jpg"/><Relationship Id="rId63" Type="http://schemas.openxmlformats.org/officeDocument/2006/relationships/image" Target="../media/image66.png"/><Relationship Id="rId7" Type="http://schemas.openxmlformats.org/officeDocument/2006/relationships/image" Target="../media/image10.png"/><Relationship Id="rId2" Type="http://schemas.openxmlformats.org/officeDocument/2006/relationships/image" Target="../media/image5.jpg"/><Relationship Id="rId16" Type="http://schemas.openxmlformats.org/officeDocument/2006/relationships/image" Target="../media/image19.png"/><Relationship Id="rId20" Type="http://schemas.openxmlformats.org/officeDocument/2006/relationships/image" Target="../media/image23.jpeg"/><Relationship Id="rId29" Type="http://schemas.openxmlformats.org/officeDocument/2006/relationships/image" Target="../media/image32.jpg"/><Relationship Id="rId41" Type="http://schemas.openxmlformats.org/officeDocument/2006/relationships/image" Target="../media/image44.jpg"/><Relationship Id="rId54" Type="http://schemas.openxmlformats.org/officeDocument/2006/relationships/image" Target="../media/image57.png"/><Relationship Id="rId62" Type="http://schemas.openxmlformats.org/officeDocument/2006/relationships/image" Target="../media/image6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g"/><Relationship Id="rId11" Type="http://schemas.openxmlformats.org/officeDocument/2006/relationships/image" Target="../media/image14.png"/><Relationship Id="rId24" Type="http://schemas.openxmlformats.org/officeDocument/2006/relationships/image" Target="../media/image27.png"/><Relationship Id="rId32" Type="http://schemas.openxmlformats.org/officeDocument/2006/relationships/image" Target="../media/image35.jpg"/><Relationship Id="rId37" Type="http://schemas.openxmlformats.org/officeDocument/2006/relationships/image" Target="../media/image40.jpg"/><Relationship Id="rId40" Type="http://schemas.openxmlformats.org/officeDocument/2006/relationships/image" Target="../media/image43.jpg"/><Relationship Id="rId45" Type="http://schemas.openxmlformats.org/officeDocument/2006/relationships/image" Target="../media/image48.png"/><Relationship Id="rId53" Type="http://schemas.openxmlformats.org/officeDocument/2006/relationships/image" Target="../media/image56.jpg"/><Relationship Id="rId58" Type="http://schemas.openxmlformats.org/officeDocument/2006/relationships/image" Target="../media/image61.png"/><Relationship Id="rId66" Type="http://schemas.openxmlformats.org/officeDocument/2006/relationships/image" Target="../media/image69.JPG"/><Relationship Id="rId5" Type="http://schemas.openxmlformats.org/officeDocument/2006/relationships/image" Target="../media/image8.jpeg"/><Relationship Id="rId15" Type="http://schemas.openxmlformats.org/officeDocument/2006/relationships/image" Target="../media/image18.jpg"/><Relationship Id="rId23" Type="http://schemas.openxmlformats.org/officeDocument/2006/relationships/image" Target="../media/image26.png"/><Relationship Id="rId28" Type="http://schemas.openxmlformats.org/officeDocument/2006/relationships/image" Target="../media/image31.jpg"/><Relationship Id="rId36" Type="http://schemas.openxmlformats.org/officeDocument/2006/relationships/image" Target="../media/image39.jpg"/><Relationship Id="rId49" Type="http://schemas.openxmlformats.org/officeDocument/2006/relationships/image" Target="../media/image52.png"/><Relationship Id="rId57" Type="http://schemas.openxmlformats.org/officeDocument/2006/relationships/image" Target="../media/image60.jpeg"/><Relationship Id="rId61" Type="http://schemas.openxmlformats.org/officeDocument/2006/relationships/image" Target="../media/image64.png"/><Relationship Id="rId10" Type="http://schemas.openxmlformats.org/officeDocument/2006/relationships/image" Target="../media/image13.png"/><Relationship Id="rId19" Type="http://schemas.openxmlformats.org/officeDocument/2006/relationships/image" Target="../media/image22.JPG"/><Relationship Id="rId31" Type="http://schemas.openxmlformats.org/officeDocument/2006/relationships/image" Target="../media/image34.png"/><Relationship Id="rId44" Type="http://schemas.openxmlformats.org/officeDocument/2006/relationships/image" Target="../media/image47.jpg"/><Relationship Id="rId52" Type="http://schemas.openxmlformats.org/officeDocument/2006/relationships/image" Target="../media/image55.png"/><Relationship Id="rId60" Type="http://schemas.openxmlformats.org/officeDocument/2006/relationships/image" Target="../media/image63.jpg"/><Relationship Id="rId65" Type="http://schemas.openxmlformats.org/officeDocument/2006/relationships/image" Target="../media/image68.jp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jpg"/><Relationship Id="rId22" Type="http://schemas.openxmlformats.org/officeDocument/2006/relationships/image" Target="../media/image25.png"/><Relationship Id="rId27" Type="http://schemas.openxmlformats.org/officeDocument/2006/relationships/image" Target="../media/image30.jpg"/><Relationship Id="rId30" Type="http://schemas.openxmlformats.org/officeDocument/2006/relationships/image" Target="../media/image33.png"/><Relationship Id="rId35" Type="http://schemas.openxmlformats.org/officeDocument/2006/relationships/image" Target="../media/image38.JPG"/><Relationship Id="rId43" Type="http://schemas.openxmlformats.org/officeDocument/2006/relationships/image" Target="../media/image46.png"/><Relationship Id="rId48" Type="http://schemas.openxmlformats.org/officeDocument/2006/relationships/image" Target="../media/image51.jpg"/><Relationship Id="rId56" Type="http://schemas.openxmlformats.org/officeDocument/2006/relationships/image" Target="../media/image59.jpeg"/><Relationship Id="rId64" Type="http://schemas.openxmlformats.org/officeDocument/2006/relationships/image" Target="../media/image67.jpg"/><Relationship Id="rId8" Type="http://schemas.openxmlformats.org/officeDocument/2006/relationships/image" Target="../media/image11.png"/><Relationship Id="rId51" Type="http://schemas.openxmlformats.org/officeDocument/2006/relationships/image" Target="../media/image54.jpg"/><Relationship Id="rId3" Type="http://schemas.openxmlformats.org/officeDocument/2006/relationships/image" Target="../media/image6.jpg"/><Relationship Id="rId12" Type="http://schemas.openxmlformats.org/officeDocument/2006/relationships/image" Target="../media/image15.jpg"/><Relationship Id="rId17" Type="http://schemas.openxmlformats.org/officeDocument/2006/relationships/image" Target="../media/image20.jpg"/><Relationship Id="rId25" Type="http://schemas.openxmlformats.org/officeDocument/2006/relationships/image" Target="../media/image28.png"/><Relationship Id="rId33" Type="http://schemas.openxmlformats.org/officeDocument/2006/relationships/image" Target="../media/image36.png"/><Relationship Id="rId38" Type="http://schemas.openxmlformats.org/officeDocument/2006/relationships/image" Target="../media/image41.png"/><Relationship Id="rId46" Type="http://schemas.openxmlformats.org/officeDocument/2006/relationships/image" Target="../media/image49.jpg"/><Relationship Id="rId59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nowledgesharingcentre.com/" TargetMode="External"/><Relationship Id="rId2" Type="http://schemas.openxmlformats.org/officeDocument/2006/relationships/hyperlink" Target="https://www.kscacademy.nl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kscprojects.nl/" TargetMode="External"/><Relationship Id="rId4" Type="http://schemas.openxmlformats.org/officeDocument/2006/relationships/hyperlink" Target="https://www.kscevents.nl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18" Type="http://schemas.openxmlformats.org/officeDocument/2006/relationships/image" Target="../media/image87.svg"/><Relationship Id="rId26" Type="http://schemas.openxmlformats.org/officeDocument/2006/relationships/image" Target="../media/image93.jpg"/><Relationship Id="rId3" Type="http://schemas.openxmlformats.org/officeDocument/2006/relationships/image" Target="../media/image72.svg"/><Relationship Id="rId21" Type="http://schemas.openxmlformats.org/officeDocument/2006/relationships/image" Target="../media/image90.png"/><Relationship Id="rId34" Type="http://schemas.openxmlformats.org/officeDocument/2006/relationships/image" Target="../media/image99.svg"/><Relationship Id="rId7" Type="http://schemas.openxmlformats.org/officeDocument/2006/relationships/image" Target="../media/image76.svg"/><Relationship Id="rId12" Type="http://schemas.openxmlformats.org/officeDocument/2006/relationships/image" Target="../media/image81.jpg"/><Relationship Id="rId17" Type="http://schemas.openxmlformats.org/officeDocument/2006/relationships/image" Target="../media/image86.png"/><Relationship Id="rId25" Type="http://schemas.openxmlformats.org/officeDocument/2006/relationships/hyperlink" Target="https://www.knowledgesharingcentre.com/" TargetMode="External"/><Relationship Id="rId33" Type="http://schemas.openxmlformats.org/officeDocument/2006/relationships/image" Target="../media/image98.png"/><Relationship Id="rId2" Type="http://schemas.openxmlformats.org/officeDocument/2006/relationships/image" Target="../media/image71.png"/><Relationship Id="rId16" Type="http://schemas.openxmlformats.org/officeDocument/2006/relationships/image" Target="../media/image85.svg"/><Relationship Id="rId20" Type="http://schemas.openxmlformats.org/officeDocument/2006/relationships/image" Target="../media/image89.svg"/><Relationship Id="rId29" Type="http://schemas.openxmlformats.org/officeDocument/2006/relationships/hyperlink" Target="https://www.kscprojects.nl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5.png"/><Relationship Id="rId11" Type="http://schemas.openxmlformats.org/officeDocument/2006/relationships/image" Target="../media/image80.svg"/><Relationship Id="rId24" Type="http://schemas.openxmlformats.org/officeDocument/2006/relationships/image" Target="../media/image92.jpg"/><Relationship Id="rId32" Type="http://schemas.openxmlformats.org/officeDocument/2006/relationships/image" Target="../media/image97.svg"/><Relationship Id="rId5" Type="http://schemas.openxmlformats.org/officeDocument/2006/relationships/image" Target="../media/image74.svg"/><Relationship Id="rId15" Type="http://schemas.openxmlformats.org/officeDocument/2006/relationships/image" Target="../media/image84.png"/><Relationship Id="rId23" Type="http://schemas.openxmlformats.org/officeDocument/2006/relationships/hyperlink" Target="https://www.kscacademy.nl/" TargetMode="External"/><Relationship Id="rId28" Type="http://schemas.openxmlformats.org/officeDocument/2006/relationships/image" Target="../media/image94.jpg"/><Relationship Id="rId10" Type="http://schemas.openxmlformats.org/officeDocument/2006/relationships/image" Target="../media/image79.png"/><Relationship Id="rId19" Type="http://schemas.openxmlformats.org/officeDocument/2006/relationships/image" Target="../media/image88.png"/><Relationship Id="rId31" Type="http://schemas.openxmlformats.org/officeDocument/2006/relationships/image" Target="../media/image96.png"/><Relationship Id="rId4" Type="http://schemas.openxmlformats.org/officeDocument/2006/relationships/image" Target="../media/image73.png"/><Relationship Id="rId9" Type="http://schemas.openxmlformats.org/officeDocument/2006/relationships/image" Target="../media/image78.svg"/><Relationship Id="rId14" Type="http://schemas.openxmlformats.org/officeDocument/2006/relationships/image" Target="../media/image83.svg"/><Relationship Id="rId22" Type="http://schemas.openxmlformats.org/officeDocument/2006/relationships/image" Target="../media/image91.svg"/><Relationship Id="rId27" Type="http://schemas.openxmlformats.org/officeDocument/2006/relationships/hyperlink" Target="https://www.kscevents.nl/" TargetMode="External"/><Relationship Id="rId30" Type="http://schemas.openxmlformats.org/officeDocument/2006/relationships/image" Target="../media/image95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C88605-8204-4361-B41F-EBF930D19D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0487" y="136525"/>
            <a:ext cx="10961076" cy="1484094"/>
          </a:xfrm>
        </p:spPr>
        <p:txBody>
          <a:bodyPr>
            <a:normAutofit fontScale="90000"/>
          </a:bodyPr>
          <a:lstStyle/>
          <a:p>
            <a:pPr defTabSz="742950" fontAlgn="auto">
              <a:spcBef>
                <a:spcPts val="0"/>
              </a:spcBef>
              <a:spcAft>
                <a:spcPts val="0"/>
              </a:spcAft>
            </a:pPr>
            <a:r>
              <a:rPr lang="nl-NL" sz="3600" b="0" dirty="0">
                <a:solidFill>
                  <a:srgbClr val="ED7D31"/>
                </a:solidFill>
                <a:latin typeface="Barlow"/>
                <a:cs typeface="Arial"/>
              </a:rPr>
              <a:t>10 Mei 2022</a:t>
            </a:r>
            <a:br>
              <a:rPr lang="nl-NL" sz="3600" b="0" dirty="0">
                <a:solidFill>
                  <a:srgbClr val="ED7D31"/>
                </a:solidFill>
                <a:latin typeface="Barlow"/>
                <a:cs typeface="Arial"/>
              </a:rPr>
            </a:br>
            <a:br>
              <a:rPr lang="nl-NL" sz="3600" b="0" dirty="0">
                <a:latin typeface="Barlow" panose="00000500000000000000" pitchFamily="2" charset="0"/>
                <a:cs typeface="Arial" panose="020B0604020202020204" pitchFamily="34" charset="0"/>
              </a:rPr>
            </a:br>
            <a:r>
              <a:rPr lang="nl-NL" sz="3200" b="1" dirty="0">
                <a:solidFill>
                  <a:srgbClr val="ED7D31"/>
                </a:solidFill>
                <a:latin typeface="Barlow"/>
                <a:cs typeface="Arial"/>
              </a:rPr>
              <a:t>“Hoe belangrijk is kennis voor uw organisatie?”</a:t>
            </a:r>
            <a:endParaRPr lang="nl-NL" sz="3200" b="1" dirty="0"/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F01FE7D5-9779-4546-8BE2-A55580EE2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EB633-4A45-4AEB-BF8F-4F0AEB6ED818}" type="slidenum">
              <a:rPr lang="en-US" smtClean="0"/>
              <a:t>1</a:t>
            </a:fld>
            <a:endParaRPr lang="en-US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49DF377C-4168-D069-F035-00B2454211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5400" y="1783693"/>
            <a:ext cx="7061200" cy="3937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09641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C88605-8204-4361-B41F-EBF930D19D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1" y="1122363"/>
            <a:ext cx="10961076" cy="2387600"/>
          </a:xfrm>
        </p:spPr>
        <p:txBody>
          <a:bodyPr>
            <a:normAutofit/>
          </a:bodyPr>
          <a:lstStyle/>
          <a:p>
            <a:pPr defTabSz="742950" fontAlgn="auto">
              <a:spcBef>
                <a:spcPts val="0"/>
              </a:spcBef>
              <a:spcAft>
                <a:spcPts val="0"/>
              </a:spcAft>
            </a:pPr>
            <a:r>
              <a:rPr lang="nl-NL" sz="4400" b="0" dirty="0">
                <a:solidFill>
                  <a:srgbClr val="ED7D31"/>
                </a:solidFill>
                <a:latin typeface="Barlow"/>
                <a:cs typeface="Arial"/>
              </a:rPr>
              <a:t>10 Mei 2022</a:t>
            </a:r>
            <a:br>
              <a:rPr lang="nl-NL" sz="4400" b="0" dirty="0">
                <a:solidFill>
                  <a:srgbClr val="ED7D31"/>
                </a:solidFill>
                <a:latin typeface="Barlow"/>
                <a:cs typeface="Arial"/>
              </a:rPr>
            </a:br>
            <a:br>
              <a:rPr lang="nl-NL" sz="4400" b="0" dirty="0">
                <a:latin typeface="Barlow" panose="00000500000000000000" pitchFamily="2" charset="0"/>
                <a:cs typeface="Arial" panose="020B0604020202020204" pitchFamily="34" charset="0"/>
              </a:rPr>
            </a:br>
            <a:r>
              <a:rPr lang="nl-NL" sz="4000" b="1" dirty="0">
                <a:solidFill>
                  <a:srgbClr val="ED7D31"/>
                </a:solidFill>
                <a:latin typeface="Barlow"/>
                <a:cs typeface="Arial"/>
              </a:rPr>
              <a:t>“Hoe belangrijk is kennis voor uw organisatie?”</a:t>
            </a:r>
            <a:endParaRPr lang="nl-NL" sz="4000" b="1" dirty="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E8EDEB1B-AACF-4C12-A0BF-A996832B0EC7}"/>
              </a:ext>
            </a:extLst>
          </p:cNvPr>
          <p:cNvSpPr txBox="1"/>
          <p:nvPr/>
        </p:nvSpPr>
        <p:spPr>
          <a:xfrm>
            <a:off x="3046751" y="4515417"/>
            <a:ext cx="609350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742950" fontAlgn="auto">
              <a:spcAft>
                <a:spcPts val="0"/>
              </a:spcAft>
              <a:defRPr/>
            </a:pPr>
            <a:r>
              <a:rPr lang="en-US" sz="4000" b="0" dirty="0">
                <a:solidFill>
                  <a:schemeClr val="bg1"/>
                </a:solidFill>
                <a:latin typeface="Barlow" panose="00000500000000000000" pitchFamily="2" charset="0"/>
              </a:rPr>
              <a:t>Knowledge Sharing Centre</a:t>
            </a:r>
            <a:br>
              <a:rPr lang="en-US" sz="1100" b="0" dirty="0">
                <a:solidFill>
                  <a:schemeClr val="bg1"/>
                </a:solidFill>
                <a:latin typeface="Barlow" panose="00000500000000000000" pitchFamily="2" charset="0"/>
              </a:rPr>
            </a:br>
            <a:r>
              <a:rPr lang="en-US" sz="6000" b="1" dirty="0">
                <a:solidFill>
                  <a:schemeClr val="bg1"/>
                </a:solidFill>
                <a:latin typeface="Barlow" panose="00000500000000000000" pitchFamily="2" charset="0"/>
              </a:rPr>
              <a:t>KSC</a:t>
            </a:r>
            <a:endParaRPr lang="en-US" sz="6000" b="1" i="1" dirty="0">
              <a:solidFill>
                <a:schemeClr val="bg1"/>
              </a:solidFill>
            </a:endParaRPr>
          </a:p>
        </p:txBody>
      </p:sp>
      <p:sp>
        <p:nvSpPr>
          <p:cNvPr id="10" name="Tijdelijke aanduiding voor dianummer 9">
            <a:extLst>
              <a:ext uri="{FF2B5EF4-FFF2-40B4-BE49-F238E27FC236}">
                <a16:creationId xmlns:a16="http://schemas.microsoft.com/office/drawing/2014/main" id="{F01FE7D5-9779-4546-8BE2-A55580EE2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EB633-4A45-4AEB-BF8F-4F0AEB6ED8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6126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53E5D2E-CFFC-4A7D-95E2-62B392D595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458200" y="5898124"/>
            <a:ext cx="2743200" cy="457200"/>
          </a:xfrm>
        </p:spPr>
        <p:txBody>
          <a:bodyPr/>
          <a:lstStyle/>
          <a:p>
            <a:fld id="{088EB633-4A45-4AEB-BF8F-4F0AEB6ED818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E223FC00-3DE1-41A7-B0AB-13D8F95363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596" y="4197173"/>
            <a:ext cx="870855" cy="457200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0F023C25-A4E6-45E6-8721-E1843EEDA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3470" y="3723201"/>
            <a:ext cx="1099926" cy="733284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339836D5-278A-4FEC-B96A-2DE842811D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226" y="4862655"/>
            <a:ext cx="1032385" cy="457200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E0ABE097-13F4-4452-A55E-6D2F21C5B1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9287" y="4830268"/>
            <a:ext cx="820725" cy="45720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185DCC78-BC5D-41D9-826D-B3EADD9546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4932" y="4979957"/>
            <a:ext cx="1227090" cy="339898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784677A2-6B75-4BAB-8F1F-81D3E87B323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6415" y="4979957"/>
            <a:ext cx="1336430" cy="457200"/>
          </a:xfrm>
          <a:prstGeom prst="rect">
            <a:avLst/>
          </a:prstGeom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7F1AA5AD-E18F-4781-9F2A-AB671FF287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6845" y="4373068"/>
            <a:ext cx="995615" cy="457200"/>
          </a:xfrm>
          <a:prstGeom prst="rect">
            <a:avLst/>
          </a:prstGeom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70F943D5-F435-4E2C-8262-331BBF4EE5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856" y="5015459"/>
            <a:ext cx="1315491" cy="29666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6A87763C-C5DC-4C27-B3B0-1BCD6B22FFF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8383" y="4955491"/>
            <a:ext cx="1064424" cy="356637"/>
          </a:xfrm>
          <a:prstGeom prst="rect">
            <a:avLst/>
          </a:prstGeom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5CEB58ED-716B-49C9-91B8-7CC6EF6F47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0180" y="5744279"/>
            <a:ext cx="796575" cy="252183"/>
          </a:xfrm>
          <a:prstGeom prst="rect">
            <a:avLst/>
          </a:prstGeom>
        </p:spPr>
      </p:pic>
      <p:pic>
        <p:nvPicPr>
          <p:cNvPr id="26" name="Afbeelding 25">
            <a:extLst>
              <a:ext uri="{FF2B5EF4-FFF2-40B4-BE49-F238E27FC236}">
                <a16:creationId xmlns:a16="http://schemas.microsoft.com/office/drawing/2014/main" id="{FB98A84F-BEAF-4280-9AEB-8F770E517D8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4258" y="4862655"/>
            <a:ext cx="1236261" cy="581617"/>
          </a:xfrm>
          <a:prstGeom prst="rect">
            <a:avLst/>
          </a:prstGeom>
        </p:spPr>
      </p:pic>
      <p:pic>
        <p:nvPicPr>
          <p:cNvPr id="30" name="Afbeelding 29">
            <a:extLst>
              <a:ext uri="{FF2B5EF4-FFF2-40B4-BE49-F238E27FC236}">
                <a16:creationId xmlns:a16="http://schemas.microsoft.com/office/drawing/2014/main" id="{F8106CE0-9F88-4DAA-9146-6B7F2A292A1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8489" y="4819968"/>
            <a:ext cx="499006" cy="228461"/>
          </a:xfrm>
          <a:prstGeom prst="rect">
            <a:avLst/>
          </a:prstGeom>
        </p:spPr>
      </p:pic>
      <p:pic>
        <p:nvPicPr>
          <p:cNvPr id="32" name="Afbeelding 31">
            <a:extLst>
              <a:ext uri="{FF2B5EF4-FFF2-40B4-BE49-F238E27FC236}">
                <a16:creationId xmlns:a16="http://schemas.microsoft.com/office/drawing/2014/main" id="{5929B00E-5176-4CCE-B363-2671259D229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1235" y="5404566"/>
            <a:ext cx="618449" cy="618449"/>
          </a:xfrm>
          <a:prstGeom prst="rect">
            <a:avLst/>
          </a:pr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86A4D339-2B93-4892-BB09-D6C0AA1ECDD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217" y="6045128"/>
            <a:ext cx="618449" cy="618449"/>
          </a:xfrm>
          <a:prstGeom prst="rect">
            <a:avLst/>
          </a:prstGeom>
        </p:spPr>
      </p:pic>
      <p:pic>
        <p:nvPicPr>
          <p:cNvPr id="36" name="Afbeelding 35">
            <a:extLst>
              <a:ext uri="{FF2B5EF4-FFF2-40B4-BE49-F238E27FC236}">
                <a16:creationId xmlns:a16="http://schemas.microsoft.com/office/drawing/2014/main" id="{284680ED-E414-48AF-87C8-6EB7825DC8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57" y="5597822"/>
            <a:ext cx="541540" cy="457200"/>
          </a:xfrm>
          <a:prstGeom prst="rect">
            <a:avLst/>
          </a:prstGeom>
        </p:spPr>
      </p:pic>
      <p:pic>
        <p:nvPicPr>
          <p:cNvPr id="38" name="Afbeelding 37">
            <a:extLst>
              <a:ext uri="{FF2B5EF4-FFF2-40B4-BE49-F238E27FC236}">
                <a16:creationId xmlns:a16="http://schemas.microsoft.com/office/drawing/2014/main" id="{27237295-C222-4094-82F8-DC58F5FD458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6368" y="5597822"/>
            <a:ext cx="875025" cy="457200"/>
          </a:xfrm>
          <a:prstGeom prst="rect">
            <a:avLst/>
          </a:prstGeom>
        </p:spPr>
      </p:pic>
      <p:pic>
        <p:nvPicPr>
          <p:cNvPr id="40" name="Afbeelding 39">
            <a:extLst>
              <a:ext uri="{FF2B5EF4-FFF2-40B4-BE49-F238E27FC236}">
                <a16:creationId xmlns:a16="http://schemas.microsoft.com/office/drawing/2014/main" id="{1DAF425F-F2F0-4E38-9F82-B99CC6F5429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2940" y="5619260"/>
            <a:ext cx="1380745" cy="457200"/>
          </a:xfrm>
          <a:prstGeom prst="rect">
            <a:avLst/>
          </a:prstGeom>
        </p:spPr>
      </p:pic>
      <p:pic>
        <p:nvPicPr>
          <p:cNvPr id="42" name="Afbeelding 41">
            <a:extLst>
              <a:ext uri="{FF2B5EF4-FFF2-40B4-BE49-F238E27FC236}">
                <a16:creationId xmlns:a16="http://schemas.microsoft.com/office/drawing/2014/main" id="{A2F6BB66-590D-4E6B-AC00-2183FB22D05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6509" y="5656244"/>
            <a:ext cx="1737396" cy="340356"/>
          </a:xfrm>
          <a:prstGeom prst="rect">
            <a:avLst/>
          </a:prstGeom>
        </p:spPr>
      </p:pic>
      <p:pic>
        <p:nvPicPr>
          <p:cNvPr id="44" name="Afbeelding 43">
            <a:extLst>
              <a:ext uri="{FF2B5EF4-FFF2-40B4-BE49-F238E27FC236}">
                <a16:creationId xmlns:a16="http://schemas.microsoft.com/office/drawing/2014/main" id="{936C2C99-557B-4CED-9105-7756ACAC082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2038" y="5644496"/>
            <a:ext cx="936345" cy="457200"/>
          </a:xfrm>
          <a:prstGeom prst="rect">
            <a:avLst/>
          </a:prstGeom>
        </p:spPr>
      </p:pic>
      <p:pic>
        <p:nvPicPr>
          <p:cNvPr id="46" name="Afbeelding 45">
            <a:extLst>
              <a:ext uri="{FF2B5EF4-FFF2-40B4-BE49-F238E27FC236}">
                <a16:creationId xmlns:a16="http://schemas.microsoft.com/office/drawing/2014/main" id="{F688F911-2A6B-46C8-B134-08337D66CC1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9471" y="5435233"/>
            <a:ext cx="457200" cy="457200"/>
          </a:xfrm>
          <a:prstGeom prst="rect">
            <a:avLst/>
          </a:prstGeom>
        </p:spPr>
      </p:pic>
      <p:pic>
        <p:nvPicPr>
          <p:cNvPr id="48" name="Afbeelding 47">
            <a:extLst>
              <a:ext uri="{FF2B5EF4-FFF2-40B4-BE49-F238E27FC236}">
                <a16:creationId xmlns:a16="http://schemas.microsoft.com/office/drawing/2014/main" id="{8184E505-8433-4DA9-A81D-B7CB8EC6882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5624" y="5477427"/>
            <a:ext cx="796575" cy="457200"/>
          </a:xfrm>
          <a:prstGeom prst="rect">
            <a:avLst/>
          </a:prstGeom>
        </p:spPr>
      </p:pic>
      <p:pic>
        <p:nvPicPr>
          <p:cNvPr id="50" name="Afbeelding 49">
            <a:extLst>
              <a:ext uri="{FF2B5EF4-FFF2-40B4-BE49-F238E27FC236}">
                <a16:creationId xmlns:a16="http://schemas.microsoft.com/office/drawing/2014/main" id="{D37840C1-2AF9-44F8-950D-29426A33DF6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701" y="278399"/>
            <a:ext cx="1874110" cy="457200"/>
          </a:xfrm>
          <a:prstGeom prst="rect">
            <a:avLst/>
          </a:prstGeom>
        </p:spPr>
      </p:pic>
      <p:pic>
        <p:nvPicPr>
          <p:cNvPr id="52" name="Afbeelding 51">
            <a:extLst>
              <a:ext uri="{FF2B5EF4-FFF2-40B4-BE49-F238E27FC236}">
                <a16:creationId xmlns:a16="http://schemas.microsoft.com/office/drawing/2014/main" id="{15740A06-84A9-4841-BA74-80E0A7A22AE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7464" y="278399"/>
            <a:ext cx="1786245" cy="457200"/>
          </a:xfrm>
          <a:prstGeom prst="rect">
            <a:avLst/>
          </a:prstGeom>
        </p:spPr>
      </p:pic>
      <p:pic>
        <p:nvPicPr>
          <p:cNvPr id="54" name="Afbeelding 53">
            <a:extLst>
              <a:ext uri="{FF2B5EF4-FFF2-40B4-BE49-F238E27FC236}">
                <a16:creationId xmlns:a16="http://schemas.microsoft.com/office/drawing/2014/main" id="{65A2F8BE-2E38-4BE9-A74E-6217EEABE8C5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632" y="277203"/>
            <a:ext cx="1154350" cy="457200"/>
          </a:xfrm>
          <a:prstGeom prst="rect">
            <a:avLst/>
          </a:prstGeom>
        </p:spPr>
      </p:pic>
      <p:pic>
        <p:nvPicPr>
          <p:cNvPr id="56" name="Afbeelding 55">
            <a:extLst>
              <a:ext uri="{FF2B5EF4-FFF2-40B4-BE49-F238E27FC236}">
                <a16:creationId xmlns:a16="http://schemas.microsoft.com/office/drawing/2014/main" id="{49026FF4-A2E8-4952-BE1F-CF2A63A7046B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3905" y="277450"/>
            <a:ext cx="1493520" cy="457200"/>
          </a:xfrm>
          <a:prstGeom prst="rect">
            <a:avLst/>
          </a:prstGeom>
        </p:spPr>
      </p:pic>
      <p:pic>
        <p:nvPicPr>
          <p:cNvPr id="58" name="Afbeelding 57">
            <a:extLst>
              <a:ext uri="{FF2B5EF4-FFF2-40B4-BE49-F238E27FC236}">
                <a16:creationId xmlns:a16="http://schemas.microsoft.com/office/drawing/2014/main" id="{7DAB395D-2ACF-47BD-8BA7-C4F11507C9F4}"/>
              </a:ext>
            </a:extLst>
          </p:cNvPr>
          <p:cNvPicPr>
            <a:picLocks noChangeAspect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47" b="21719"/>
          <a:stretch/>
        </p:blipFill>
        <p:spPr>
          <a:xfrm>
            <a:off x="8067993" y="277203"/>
            <a:ext cx="857231" cy="457200"/>
          </a:xfrm>
          <a:prstGeom prst="rect">
            <a:avLst/>
          </a:prstGeom>
        </p:spPr>
      </p:pic>
      <p:pic>
        <p:nvPicPr>
          <p:cNvPr id="60" name="Afbeelding 59">
            <a:extLst>
              <a:ext uri="{FF2B5EF4-FFF2-40B4-BE49-F238E27FC236}">
                <a16:creationId xmlns:a16="http://schemas.microsoft.com/office/drawing/2014/main" id="{433B0B1E-C421-4970-A1EB-7ADA4A0E2DC3}"/>
              </a:ext>
            </a:extLst>
          </p:cNvPr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30" b="28280"/>
          <a:stretch/>
        </p:blipFill>
        <p:spPr>
          <a:xfrm>
            <a:off x="9225792" y="210526"/>
            <a:ext cx="1048856" cy="457200"/>
          </a:xfrm>
          <a:prstGeom prst="rect">
            <a:avLst/>
          </a:prstGeom>
        </p:spPr>
      </p:pic>
      <p:pic>
        <p:nvPicPr>
          <p:cNvPr id="62" name="Afbeelding 61">
            <a:extLst>
              <a:ext uri="{FF2B5EF4-FFF2-40B4-BE49-F238E27FC236}">
                <a16:creationId xmlns:a16="http://schemas.microsoft.com/office/drawing/2014/main" id="{2DA9EE8A-9F80-4BC9-B0C8-28E359F4ED46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911" b="26867"/>
          <a:stretch/>
        </p:blipFill>
        <p:spPr>
          <a:xfrm>
            <a:off x="10575216" y="247897"/>
            <a:ext cx="968184" cy="457200"/>
          </a:xfrm>
          <a:prstGeom prst="rect">
            <a:avLst/>
          </a:prstGeom>
        </p:spPr>
      </p:pic>
      <p:pic>
        <p:nvPicPr>
          <p:cNvPr id="64" name="Afbeelding 63">
            <a:extLst>
              <a:ext uri="{FF2B5EF4-FFF2-40B4-BE49-F238E27FC236}">
                <a16:creationId xmlns:a16="http://schemas.microsoft.com/office/drawing/2014/main" id="{6644D3CA-D1BC-4D08-B642-A262416F2363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701" y="1109840"/>
            <a:ext cx="1175655" cy="457200"/>
          </a:xfrm>
          <a:prstGeom prst="rect">
            <a:avLst/>
          </a:prstGeom>
        </p:spPr>
      </p:pic>
      <p:pic>
        <p:nvPicPr>
          <p:cNvPr id="68" name="Afbeelding 67">
            <a:extLst>
              <a:ext uri="{FF2B5EF4-FFF2-40B4-BE49-F238E27FC236}">
                <a16:creationId xmlns:a16="http://schemas.microsoft.com/office/drawing/2014/main" id="{68260708-848C-46AA-8766-9CD57E5255E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496" y="1056903"/>
            <a:ext cx="1367690" cy="457200"/>
          </a:xfrm>
          <a:prstGeom prst="rect">
            <a:avLst/>
          </a:prstGeom>
        </p:spPr>
      </p:pic>
      <p:pic>
        <p:nvPicPr>
          <p:cNvPr id="70" name="Afbeelding 69">
            <a:extLst>
              <a:ext uri="{FF2B5EF4-FFF2-40B4-BE49-F238E27FC236}">
                <a16:creationId xmlns:a16="http://schemas.microsoft.com/office/drawing/2014/main" id="{F7CA51AF-495A-4D6B-986E-674C42978766}"/>
              </a:ext>
            </a:extLst>
          </p:cNvPr>
          <p:cNvPicPr>
            <a:picLocks noChangeAspect="1"/>
          </p:cNvPicPr>
          <p:nvPr/>
        </p:nvPicPr>
        <p:blipFill rotWithShape="1"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29" b="34469"/>
          <a:stretch/>
        </p:blipFill>
        <p:spPr>
          <a:xfrm>
            <a:off x="4076326" y="1004675"/>
            <a:ext cx="1321311" cy="457200"/>
          </a:xfrm>
          <a:prstGeom prst="rect">
            <a:avLst/>
          </a:prstGeom>
        </p:spPr>
      </p:pic>
      <p:pic>
        <p:nvPicPr>
          <p:cNvPr id="72" name="Afbeelding 71">
            <a:extLst>
              <a:ext uri="{FF2B5EF4-FFF2-40B4-BE49-F238E27FC236}">
                <a16:creationId xmlns:a16="http://schemas.microsoft.com/office/drawing/2014/main" id="{27DE6EAD-88ED-4984-8065-6C0BF73F9F80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5931" y="1404250"/>
            <a:ext cx="800100" cy="457200"/>
          </a:xfrm>
          <a:prstGeom prst="rect">
            <a:avLst/>
          </a:prstGeom>
        </p:spPr>
      </p:pic>
      <p:pic>
        <p:nvPicPr>
          <p:cNvPr id="74" name="Afbeelding 73">
            <a:extLst>
              <a:ext uri="{FF2B5EF4-FFF2-40B4-BE49-F238E27FC236}">
                <a16:creationId xmlns:a16="http://schemas.microsoft.com/office/drawing/2014/main" id="{A32D9F4A-F515-4590-9CB3-04933A4AA78F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4777" y="1012400"/>
            <a:ext cx="822960" cy="457200"/>
          </a:xfrm>
          <a:prstGeom prst="rect">
            <a:avLst/>
          </a:prstGeom>
        </p:spPr>
      </p:pic>
      <p:pic>
        <p:nvPicPr>
          <p:cNvPr id="76" name="Afbeelding 75">
            <a:extLst>
              <a:ext uri="{FF2B5EF4-FFF2-40B4-BE49-F238E27FC236}">
                <a16:creationId xmlns:a16="http://schemas.microsoft.com/office/drawing/2014/main" id="{F1C41393-F218-44D0-A839-F9148AAAB2B0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4877" y="1002382"/>
            <a:ext cx="1090615" cy="457200"/>
          </a:xfrm>
          <a:prstGeom prst="rect">
            <a:avLst/>
          </a:prstGeom>
        </p:spPr>
      </p:pic>
      <p:pic>
        <p:nvPicPr>
          <p:cNvPr id="78" name="Afbeelding 77">
            <a:extLst>
              <a:ext uri="{FF2B5EF4-FFF2-40B4-BE49-F238E27FC236}">
                <a16:creationId xmlns:a16="http://schemas.microsoft.com/office/drawing/2014/main" id="{A2393463-46DC-4212-8725-ABE00203BAC5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632" y="965270"/>
            <a:ext cx="714375" cy="457200"/>
          </a:xfrm>
          <a:prstGeom prst="rect">
            <a:avLst/>
          </a:prstGeom>
        </p:spPr>
      </p:pic>
      <p:pic>
        <p:nvPicPr>
          <p:cNvPr id="80" name="Afbeelding 79">
            <a:extLst>
              <a:ext uri="{FF2B5EF4-FFF2-40B4-BE49-F238E27FC236}">
                <a16:creationId xmlns:a16="http://schemas.microsoft.com/office/drawing/2014/main" id="{518096B3-E5EA-46D5-8870-D3ED7D9A4F00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4147" y="965270"/>
            <a:ext cx="1202635" cy="457200"/>
          </a:xfrm>
          <a:prstGeom prst="rect">
            <a:avLst/>
          </a:prstGeom>
        </p:spPr>
      </p:pic>
      <p:pic>
        <p:nvPicPr>
          <p:cNvPr id="82" name="Afbeelding 81">
            <a:extLst>
              <a:ext uri="{FF2B5EF4-FFF2-40B4-BE49-F238E27FC236}">
                <a16:creationId xmlns:a16="http://schemas.microsoft.com/office/drawing/2014/main" id="{97D020EC-86C5-4000-ACCA-A321C25421F3}"/>
              </a:ext>
            </a:extLst>
          </p:cNvPr>
          <p:cNvPicPr>
            <a:picLocks noChangeAspect="1"/>
          </p:cNvPicPr>
          <p:nvPr/>
        </p:nvPicPr>
        <p:blipFill rotWithShape="1"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65" b="25318"/>
          <a:stretch/>
        </p:blipFill>
        <p:spPr>
          <a:xfrm>
            <a:off x="404857" y="1909348"/>
            <a:ext cx="954151" cy="457200"/>
          </a:xfrm>
          <a:prstGeom prst="rect">
            <a:avLst/>
          </a:prstGeom>
        </p:spPr>
      </p:pic>
      <p:pic>
        <p:nvPicPr>
          <p:cNvPr id="84" name="Afbeelding 83">
            <a:extLst>
              <a:ext uri="{FF2B5EF4-FFF2-40B4-BE49-F238E27FC236}">
                <a16:creationId xmlns:a16="http://schemas.microsoft.com/office/drawing/2014/main" id="{B8749258-50F5-4103-8249-0A6569723F2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0490" y="1907946"/>
            <a:ext cx="870855" cy="457200"/>
          </a:xfrm>
          <a:prstGeom prst="rect">
            <a:avLst/>
          </a:prstGeom>
        </p:spPr>
      </p:pic>
      <p:pic>
        <p:nvPicPr>
          <p:cNvPr id="86" name="Afbeelding 85">
            <a:extLst>
              <a:ext uri="{FF2B5EF4-FFF2-40B4-BE49-F238E27FC236}">
                <a16:creationId xmlns:a16="http://schemas.microsoft.com/office/drawing/2014/main" id="{38A0C4F7-A8C8-489F-A92D-D4304081EAB1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6453" y="1902760"/>
            <a:ext cx="457200" cy="457200"/>
          </a:xfrm>
          <a:prstGeom prst="rect">
            <a:avLst/>
          </a:prstGeom>
        </p:spPr>
      </p:pic>
      <p:pic>
        <p:nvPicPr>
          <p:cNvPr id="88" name="Afbeelding 87">
            <a:extLst>
              <a:ext uri="{FF2B5EF4-FFF2-40B4-BE49-F238E27FC236}">
                <a16:creationId xmlns:a16="http://schemas.microsoft.com/office/drawing/2014/main" id="{BD7E52CE-226B-434B-B108-6801B32BE45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551" y="1818067"/>
            <a:ext cx="1388180" cy="457200"/>
          </a:xfrm>
          <a:prstGeom prst="rect">
            <a:avLst/>
          </a:prstGeom>
        </p:spPr>
      </p:pic>
      <p:pic>
        <p:nvPicPr>
          <p:cNvPr id="90" name="Afbeelding 89">
            <a:extLst>
              <a:ext uri="{FF2B5EF4-FFF2-40B4-BE49-F238E27FC236}">
                <a16:creationId xmlns:a16="http://schemas.microsoft.com/office/drawing/2014/main" id="{2DDA8E44-1CE8-41C6-808B-B9EADE475798}"/>
              </a:ext>
            </a:extLst>
          </p:cNvPr>
          <p:cNvPicPr>
            <a:picLocks noChangeAspect="1"/>
          </p:cNvPicPr>
          <p:nvPr/>
        </p:nvPicPr>
        <p:blipFill rotWithShape="1"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94" b="23065"/>
          <a:stretch/>
        </p:blipFill>
        <p:spPr>
          <a:xfrm>
            <a:off x="5199873" y="1818067"/>
            <a:ext cx="932266" cy="457200"/>
          </a:xfrm>
          <a:prstGeom prst="rect">
            <a:avLst/>
          </a:prstGeom>
        </p:spPr>
      </p:pic>
      <p:pic>
        <p:nvPicPr>
          <p:cNvPr id="92" name="Afbeelding 91">
            <a:extLst>
              <a:ext uri="{FF2B5EF4-FFF2-40B4-BE49-F238E27FC236}">
                <a16:creationId xmlns:a16="http://schemas.microsoft.com/office/drawing/2014/main" id="{9F88E62D-65CD-476F-85DD-12F62973DD65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744" y="1840107"/>
            <a:ext cx="1296265" cy="457200"/>
          </a:xfrm>
          <a:prstGeom prst="rect">
            <a:avLst/>
          </a:prstGeom>
        </p:spPr>
      </p:pic>
      <p:pic>
        <p:nvPicPr>
          <p:cNvPr id="94" name="Afbeelding 93">
            <a:extLst>
              <a:ext uri="{FF2B5EF4-FFF2-40B4-BE49-F238E27FC236}">
                <a16:creationId xmlns:a16="http://schemas.microsoft.com/office/drawing/2014/main" id="{8C2CF006-D5A5-477D-8713-311157B7BF9D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7076" y="1902760"/>
            <a:ext cx="1823443" cy="234663"/>
          </a:xfrm>
          <a:prstGeom prst="rect">
            <a:avLst/>
          </a:prstGeom>
        </p:spPr>
      </p:pic>
      <p:pic>
        <p:nvPicPr>
          <p:cNvPr id="96" name="Afbeelding 95">
            <a:extLst>
              <a:ext uri="{FF2B5EF4-FFF2-40B4-BE49-F238E27FC236}">
                <a16:creationId xmlns:a16="http://schemas.microsoft.com/office/drawing/2014/main" id="{878EA73C-D3B6-4C0C-90DA-DC25073F59E5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888" y="1931261"/>
            <a:ext cx="1029849" cy="374010"/>
          </a:xfrm>
          <a:prstGeom prst="rect">
            <a:avLst/>
          </a:prstGeom>
        </p:spPr>
      </p:pic>
      <p:pic>
        <p:nvPicPr>
          <p:cNvPr id="98" name="Afbeelding 97">
            <a:extLst>
              <a:ext uri="{FF2B5EF4-FFF2-40B4-BE49-F238E27FC236}">
                <a16:creationId xmlns:a16="http://schemas.microsoft.com/office/drawing/2014/main" id="{96D0CBFB-E83A-4CAF-AED3-503DE727A2C6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99" y="2737436"/>
            <a:ext cx="1260282" cy="252828"/>
          </a:xfrm>
          <a:prstGeom prst="rect">
            <a:avLst/>
          </a:prstGeom>
        </p:spPr>
      </p:pic>
      <p:pic>
        <p:nvPicPr>
          <p:cNvPr id="100" name="Afbeelding 99">
            <a:extLst>
              <a:ext uri="{FF2B5EF4-FFF2-40B4-BE49-F238E27FC236}">
                <a16:creationId xmlns:a16="http://schemas.microsoft.com/office/drawing/2014/main" id="{C61EA445-7CC1-41D3-A6D4-263886CC724D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3370" y="2635250"/>
            <a:ext cx="702220" cy="457200"/>
          </a:xfrm>
          <a:prstGeom prst="rect">
            <a:avLst/>
          </a:prstGeom>
        </p:spPr>
      </p:pic>
      <p:pic>
        <p:nvPicPr>
          <p:cNvPr id="102" name="Afbeelding 101">
            <a:extLst>
              <a:ext uri="{FF2B5EF4-FFF2-40B4-BE49-F238E27FC236}">
                <a16:creationId xmlns:a16="http://schemas.microsoft.com/office/drawing/2014/main" id="{FA65CE93-2E02-4BBC-BACC-99CC82C3B11D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5191" y="2498933"/>
            <a:ext cx="669633" cy="669633"/>
          </a:xfrm>
          <a:prstGeom prst="rect">
            <a:avLst/>
          </a:prstGeom>
        </p:spPr>
      </p:pic>
      <p:pic>
        <p:nvPicPr>
          <p:cNvPr id="104" name="Afbeelding 103">
            <a:extLst>
              <a:ext uri="{FF2B5EF4-FFF2-40B4-BE49-F238E27FC236}">
                <a16:creationId xmlns:a16="http://schemas.microsoft.com/office/drawing/2014/main" id="{9C3CCE82-9C45-413A-8420-21561C4B2D73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851" y="2535257"/>
            <a:ext cx="949570" cy="457200"/>
          </a:xfrm>
          <a:prstGeom prst="rect">
            <a:avLst/>
          </a:prstGeom>
        </p:spPr>
      </p:pic>
      <p:pic>
        <p:nvPicPr>
          <p:cNvPr id="106" name="Afbeelding 105">
            <a:extLst>
              <a:ext uri="{FF2B5EF4-FFF2-40B4-BE49-F238E27FC236}">
                <a16:creationId xmlns:a16="http://schemas.microsoft.com/office/drawing/2014/main" id="{F8BCB263-B9EB-4E27-A984-F59B3A66475B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4260" y="2549306"/>
            <a:ext cx="949570" cy="629088"/>
          </a:xfrm>
          <a:prstGeom prst="rect">
            <a:avLst/>
          </a:prstGeom>
        </p:spPr>
      </p:pic>
      <p:pic>
        <p:nvPicPr>
          <p:cNvPr id="108" name="Afbeelding 107">
            <a:extLst>
              <a:ext uri="{FF2B5EF4-FFF2-40B4-BE49-F238E27FC236}">
                <a16:creationId xmlns:a16="http://schemas.microsoft.com/office/drawing/2014/main" id="{687F5575-73DE-4E32-83B8-59F49F79D61F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6836" y="2635250"/>
            <a:ext cx="540925" cy="457200"/>
          </a:xfrm>
          <a:prstGeom prst="rect">
            <a:avLst/>
          </a:prstGeom>
        </p:spPr>
      </p:pic>
      <p:pic>
        <p:nvPicPr>
          <p:cNvPr id="110" name="Afbeelding 109">
            <a:extLst>
              <a:ext uri="{FF2B5EF4-FFF2-40B4-BE49-F238E27FC236}">
                <a16:creationId xmlns:a16="http://schemas.microsoft.com/office/drawing/2014/main" id="{48FEA06E-9B36-4B6C-9304-C3203604A8C9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7812" y="2587220"/>
            <a:ext cx="370190" cy="457200"/>
          </a:xfrm>
          <a:prstGeom prst="rect">
            <a:avLst/>
          </a:prstGeom>
        </p:spPr>
      </p:pic>
      <p:pic>
        <p:nvPicPr>
          <p:cNvPr id="112" name="Afbeelding 111">
            <a:extLst>
              <a:ext uri="{FF2B5EF4-FFF2-40B4-BE49-F238E27FC236}">
                <a16:creationId xmlns:a16="http://schemas.microsoft.com/office/drawing/2014/main" id="{C725F43F-9F9F-4DFC-A90F-D37CCFD89A30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41" y="3515633"/>
            <a:ext cx="1266115" cy="328120"/>
          </a:xfrm>
          <a:prstGeom prst="rect">
            <a:avLst/>
          </a:prstGeom>
        </p:spPr>
      </p:pic>
      <p:pic>
        <p:nvPicPr>
          <p:cNvPr id="114" name="Afbeelding 113">
            <a:extLst>
              <a:ext uri="{FF2B5EF4-FFF2-40B4-BE49-F238E27FC236}">
                <a16:creationId xmlns:a16="http://schemas.microsoft.com/office/drawing/2014/main" id="{6E8562DD-E26E-43D5-A91A-07D2D3DE0624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7772" y="3404907"/>
            <a:ext cx="1972235" cy="457200"/>
          </a:xfrm>
          <a:prstGeom prst="rect">
            <a:avLst/>
          </a:prstGeom>
        </p:spPr>
      </p:pic>
      <p:pic>
        <p:nvPicPr>
          <p:cNvPr id="116" name="Afbeelding 115">
            <a:extLst>
              <a:ext uri="{FF2B5EF4-FFF2-40B4-BE49-F238E27FC236}">
                <a16:creationId xmlns:a16="http://schemas.microsoft.com/office/drawing/2014/main" id="{B3434E0F-ED84-443A-AAF3-24C49F3FCFA3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9531" y="3404907"/>
            <a:ext cx="457200" cy="457200"/>
          </a:xfrm>
          <a:prstGeom prst="rect">
            <a:avLst/>
          </a:prstGeom>
        </p:spPr>
      </p:pic>
      <p:pic>
        <p:nvPicPr>
          <p:cNvPr id="118" name="Afbeelding 117">
            <a:extLst>
              <a:ext uri="{FF2B5EF4-FFF2-40B4-BE49-F238E27FC236}">
                <a16:creationId xmlns:a16="http://schemas.microsoft.com/office/drawing/2014/main" id="{63BACBDB-BD0A-41DF-8195-D773D0FA1CF0}"/>
              </a:ext>
            </a:extLst>
          </p:cNvPr>
          <p:cNvPicPr>
            <a:picLocks noChangeAspect="1"/>
          </p:cNvPicPr>
          <p:nvPr/>
        </p:nvPicPr>
        <p:blipFill rotWithShape="1"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434" b="28623"/>
          <a:stretch/>
        </p:blipFill>
        <p:spPr>
          <a:xfrm>
            <a:off x="6863981" y="3429689"/>
            <a:ext cx="1234899" cy="629088"/>
          </a:xfrm>
          <a:prstGeom prst="rect">
            <a:avLst/>
          </a:prstGeom>
        </p:spPr>
      </p:pic>
      <p:pic>
        <p:nvPicPr>
          <p:cNvPr id="120" name="Afbeelding 119">
            <a:extLst>
              <a:ext uri="{FF2B5EF4-FFF2-40B4-BE49-F238E27FC236}">
                <a16:creationId xmlns:a16="http://schemas.microsoft.com/office/drawing/2014/main" id="{A9D57A42-E632-4865-A976-22895D7CAE91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608" y="3504504"/>
            <a:ext cx="1160835" cy="457200"/>
          </a:xfrm>
          <a:prstGeom prst="rect">
            <a:avLst/>
          </a:prstGeom>
        </p:spPr>
      </p:pic>
      <p:pic>
        <p:nvPicPr>
          <p:cNvPr id="122" name="Afbeelding 121">
            <a:extLst>
              <a:ext uri="{FF2B5EF4-FFF2-40B4-BE49-F238E27FC236}">
                <a16:creationId xmlns:a16="http://schemas.microsoft.com/office/drawing/2014/main" id="{B40CD2B5-0065-49D1-819E-6B6D13766933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9859" y="3569535"/>
            <a:ext cx="1900410" cy="457200"/>
          </a:xfrm>
          <a:prstGeom prst="rect">
            <a:avLst/>
          </a:prstGeom>
        </p:spPr>
      </p:pic>
      <p:pic>
        <p:nvPicPr>
          <p:cNvPr id="124" name="Afbeelding 123">
            <a:extLst>
              <a:ext uri="{FF2B5EF4-FFF2-40B4-BE49-F238E27FC236}">
                <a16:creationId xmlns:a16="http://schemas.microsoft.com/office/drawing/2014/main" id="{9EE79B69-5D1B-4E05-9BCC-A9496435A9BC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241" y="4267522"/>
            <a:ext cx="821935" cy="457200"/>
          </a:xfrm>
          <a:prstGeom prst="rect">
            <a:avLst/>
          </a:prstGeom>
        </p:spPr>
      </p:pic>
      <p:pic>
        <p:nvPicPr>
          <p:cNvPr id="126" name="Afbeelding 125">
            <a:extLst>
              <a:ext uri="{FF2B5EF4-FFF2-40B4-BE49-F238E27FC236}">
                <a16:creationId xmlns:a16="http://schemas.microsoft.com/office/drawing/2014/main" id="{6550D835-FBBB-4DD3-8BEF-E0CA3FE45ADC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1829" y="4072964"/>
            <a:ext cx="681720" cy="624458"/>
          </a:xfrm>
          <a:prstGeom prst="rect">
            <a:avLst/>
          </a:prstGeom>
        </p:spPr>
      </p:pic>
      <p:pic>
        <p:nvPicPr>
          <p:cNvPr id="128" name="Afbeelding 127">
            <a:extLst>
              <a:ext uri="{FF2B5EF4-FFF2-40B4-BE49-F238E27FC236}">
                <a16:creationId xmlns:a16="http://schemas.microsoft.com/office/drawing/2014/main" id="{6AF08F29-CC0D-4E26-9BAE-2DC278C02151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5461" y="4213597"/>
            <a:ext cx="845125" cy="457200"/>
          </a:xfrm>
          <a:prstGeom prst="rect">
            <a:avLst/>
          </a:prstGeom>
        </p:spPr>
      </p:pic>
      <p:pic>
        <p:nvPicPr>
          <p:cNvPr id="130" name="Afbeelding 129">
            <a:extLst>
              <a:ext uri="{FF2B5EF4-FFF2-40B4-BE49-F238E27FC236}">
                <a16:creationId xmlns:a16="http://schemas.microsoft.com/office/drawing/2014/main" id="{235196AC-435D-4C0C-ADD1-97FE718DE870}"/>
              </a:ext>
            </a:extLst>
          </p:cNvPr>
          <p:cNvPicPr>
            <a:picLocks noChangeAspect="1"/>
          </p:cNvPicPr>
          <p:nvPr/>
        </p:nvPicPr>
        <p:blipFill rotWithShape="1"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7" t="19125" r="7677" b="26873"/>
          <a:stretch/>
        </p:blipFill>
        <p:spPr>
          <a:xfrm>
            <a:off x="3932068" y="4230021"/>
            <a:ext cx="1134816" cy="440776"/>
          </a:xfrm>
          <a:prstGeom prst="rect">
            <a:avLst/>
          </a:prstGeom>
        </p:spPr>
      </p:pic>
      <p:pic>
        <p:nvPicPr>
          <p:cNvPr id="132" name="Afbeelding 131">
            <a:extLst>
              <a:ext uri="{FF2B5EF4-FFF2-40B4-BE49-F238E27FC236}">
                <a16:creationId xmlns:a16="http://schemas.microsoft.com/office/drawing/2014/main" id="{E2BD8506-40B4-4B99-882D-BC3CE02347A7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1496" y="4213597"/>
            <a:ext cx="973775" cy="457200"/>
          </a:xfrm>
          <a:prstGeom prst="rect">
            <a:avLst/>
          </a:prstGeom>
        </p:spPr>
      </p:pic>
      <p:pic>
        <p:nvPicPr>
          <p:cNvPr id="134" name="Afbeelding 133">
            <a:extLst>
              <a:ext uri="{FF2B5EF4-FFF2-40B4-BE49-F238E27FC236}">
                <a16:creationId xmlns:a16="http://schemas.microsoft.com/office/drawing/2014/main" id="{8FD573E6-CD0A-4B51-8629-79A008B692CC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1071" y="4018918"/>
            <a:ext cx="668582" cy="668582"/>
          </a:xfrm>
          <a:prstGeom prst="rect">
            <a:avLst/>
          </a:prstGeom>
        </p:spPr>
      </p:pic>
      <p:pic>
        <p:nvPicPr>
          <p:cNvPr id="136" name="Afbeelding 135">
            <a:extLst>
              <a:ext uri="{FF2B5EF4-FFF2-40B4-BE49-F238E27FC236}">
                <a16:creationId xmlns:a16="http://schemas.microsoft.com/office/drawing/2014/main" id="{B9894FA3-8A1F-4EFC-9BFB-4846C2CA479D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2825" y="4010397"/>
            <a:ext cx="783645" cy="783645"/>
          </a:xfrm>
          <a:prstGeom prst="rect">
            <a:avLst/>
          </a:prstGeom>
        </p:spPr>
      </p:pic>
      <p:pic>
        <p:nvPicPr>
          <p:cNvPr id="138" name="Afbeelding 137">
            <a:extLst>
              <a:ext uri="{FF2B5EF4-FFF2-40B4-BE49-F238E27FC236}">
                <a16:creationId xmlns:a16="http://schemas.microsoft.com/office/drawing/2014/main" id="{591C8F25-F6C4-444A-BAF2-A43077381DE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5767" y="2713828"/>
            <a:ext cx="1099926" cy="919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653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99000">
              <a:schemeClr val="accent3">
                <a:lumMod val="60000"/>
                <a:lumOff val="40000"/>
              </a:schemeClr>
            </a:gs>
            <a:gs pos="1000">
              <a:schemeClr val="accent3">
                <a:lumMod val="75000"/>
              </a:schemeClr>
            </a:gs>
          </a:gsLst>
          <a:lin ang="906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90D94CA-4F8E-4B01-8F78-81A092661D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NL" sz="3600" b="1" dirty="0">
                <a:latin typeface="+mn-lt"/>
              </a:rPr>
              <a:t>KSC Academy hulp in kennisborging </a:t>
            </a:r>
            <a:endParaRPr lang="en-US" sz="3600" b="1" dirty="0"/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01202F8F-E5CF-43B9-B5A6-FB805D7DE1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59877"/>
            <a:ext cx="6254578" cy="4817086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l-NL" i="1" dirty="0"/>
              <a:t>Ir. René van Ommeren MSc MMO</a:t>
            </a:r>
            <a:endParaRPr lang="nl-NL" sz="2800" b="0" i="1" dirty="0">
              <a:latin typeface="+mn-lt"/>
            </a:endParaRPr>
          </a:p>
          <a:p>
            <a:r>
              <a:rPr lang="nl-NL" sz="2400" i="1" dirty="0">
                <a:solidFill>
                  <a:schemeClr val="accent2">
                    <a:lumMod val="75000"/>
                  </a:schemeClr>
                </a:solidFill>
              </a:rPr>
              <a:t>Managing Partner bij Innovox &amp; Partners</a:t>
            </a:r>
          </a:p>
          <a:p>
            <a:r>
              <a:rPr lang="nl-NL" sz="2400" i="1" dirty="0">
                <a:solidFill>
                  <a:schemeClr val="accent2">
                    <a:lumMod val="75000"/>
                  </a:schemeClr>
                </a:solidFill>
              </a:rPr>
              <a:t>Partner </a:t>
            </a:r>
            <a:r>
              <a:rPr lang="nl-NL" sz="2400" i="1" dirty="0" err="1">
                <a:solidFill>
                  <a:schemeClr val="accent2">
                    <a:lumMod val="75000"/>
                  </a:schemeClr>
                </a:solidFill>
              </a:rPr>
              <a:t>Sunglacier</a:t>
            </a:r>
            <a:r>
              <a:rPr lang="nl-NL" sz="2400" i="1" dirty="0">
                <a:solidFill>
                  <a:schemeClr val="accent2">
                    <a:lumMod val="75000"/>
                  </a:schemeClr>
                </a:solidFill>
              </a:rPr>
              <a:t> Technologies</a:t>
            </a:r>
          </a:p>
          <a:p>
            <a:r>
              <a:rPr lang="nl-NL" sz="2400" i="1" dirty="0">
                <a:solidFill>
                  <a:schemeClr val="accent2">
                    <a:lumMod val="75000"/>
                  </a:schemeClr>
                </a:solidFill>
              </a:rPr>
              <a:t>Teamlead KSC Academy</a:t>
            </a:r>
          </a:p>
          <a:p>
            <a:pPr marL="0" indent="0">
              <a:buNone/>
            </a:pPr>
            <a:endParaRPr lang="nl-NL" sz="2400" i="1" dirty="0">
              <a:solidFill>
                <a:schemeClr val="accent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nl-NL" sz="20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We faciliteren organisaties in hun ontwikkeling met strategiebepaling en de implementatie daarvan zodat zij toekomstbestendig succesvol kunnen blijven</a:t>
            </a:r>
            <a:r>
              <a:rPr lang="nl-NL" sz="16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.</a:t>
            </a:r>
          </a:p>
          <a:p>
            <a:pPr marL="0" indent="0">
              <a:buNone/>
            </a:pPr>
            <a:r>
              <a:rPr lang="nl-NL" sz="16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 </a:t>
            </a:r>
          </a:p>
          <a:p>
            <a:pPr marL="0" indent="0">
              <a:buNone/>
            </a:pPr>
            <a:r>
              <a:rPr lang="nl-NL" sz="20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De </a:t>
            </a:r>
            <a:r>
              <a:rPr lang="nl-NL" sz="20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KSC-Academy</a:t>
            </a:r>
            <a:r>
              <a:rPr lang="nl-NL" sz="2000" b="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 wil een brug slaan tussen het borgen van kennis en het daadwerkelijke delen hiervan door een laagdrempelig aanbod van ondersteuning bij de diverse stappen in dit proces.</a:t>
            </a:r>
            <a:endParaRPr lang="en-US" sz="320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CC666D6-3066-41D2-BCD1-AB88BDF4FD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fld id="{088EB633-4A45-4AEB-BF8F-4F0AEB6ED8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01D8842E-DF2A-4B29-98AB-4303371E60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6" r="-2" b="-2"/>
          <a:stretch/>
        </p:blipFill>
        <p:spPr>
          <a:xfrm>
            <a:off x="7310793" y="1966521"/>
            <a:ext cx="4293141" cy="4210442"/>
          </a:xfrm>
          <a:custGeom>
            <a:avLst/>
            <a:gdLst/>
            <a:ahLst/>
            <a:cxnLst/>
            <a:rect l="l" t="t" r="r" b="b"/>
            <a:pathLst>
              <a:path w="5283866" h="4210442">
                <a:moveTo>
                  <a:pt x="839883" y="18"/>
                </a:moveTo>
                <a:cubicBezTo>
                  <a:pt x="851945" y="328"/>
                  <a:pt x="864423" y="4671"/>
                  <a:pt x="875727" y="6050"/>
                </a:cubicBezTo>
                <a:cubicBezTo>
                  <a:pt x="1125267" y="36932"/>
                  <a:pt x="1374804" y="70296"/>
                  <a:pt x="1624617" y="99799"/>
                </a:cubicBezTo>
                <a:cubicBezTo>
                  <a:pt x="1858164" y="127373"/>
                  <a:pt x="2093363" y="133714"/>
                  <a:pt x="2328012" y="148051"/>
                </a:cubicBezTo>
                <a:cubicBezTo>
                  <a:pt x="2612016" y="165424"/>
                  <a:pt x="2895470" y="189965"/>
                  <a:pt x="3177820" y="228566"/>
                </a:cubicBezTo>
                <a:cubicBezTo>
                  <a:pt x="3373866" y="255590"/>
                  <a:pt x="3571843" y="274338"/>
                  <a:pt x="3770646" y="252831"/>
                </a:cubicBezTo>
                <a:cubicBezTo>
                  <a:pt x="3780572" y="251727"/>
                  <a:pt x="3791878" y="248144"/>
                  <a:pt x="3800149" y="251727"/>
                </a:cubicBezTo>
                <a:cubicBezTo>
                  <a:pt x="3896658" y="291986"/>
                  <a:pt x="4001986" y="263033"/>
                  <a:pt x="4102076" y="288400"/>
                </a:cubicBezTo>
                <a:cubicBezTo>
                  <a:pt x="4076434" y="386286"/>
                  <a:pt x="3966416" y="378289"/>
                  <a:pt x="3904377" y="446120"/>
                </a:cubicBezTo>
                <a:cubicBezTo>
                  <a:pt x="4005570" y="473141"/>
                  <a:pt x="4096562" y="500439"/>
                  <a:pt x="4188933" y="520843"/>
                </a:cubicBezTo>
                <a:cubicBezTo>
                  <a:pt x="4286818" y="542350"/>
                  <a:pt x="4369813" y="600531"/>
                  <a:pt x="4465492" y="626449"/>
                </a:cubicBezTo>
                <a:cubicBezTo>
                  <a:pt x="4485897" y="631964"/>
                  <a:pt x="4510437" y="651264"/>
                  <a:pt x="4517606" y="670015"/>
                </a:cubicBezTo>
                <a:cubicBezTo>
                  <a:pt x="4540768" y="730677"/>
                  <a:pt x="5003171" y="900804"/>
                  <a:pt x="4948576" y="954847"/>
                </a:cubicBezTo>
                <a:cubicBezTo>
                  <a:pt x="4925966" y="977182"/>
                  <a:pt x="4896738" y="993174"/>
                  <a:pt x="4866132" y="1015233"/>
                </a:cubicBezTo>
                <a:cubicBezTo>
                  <a:pt x="4912180" y="1056869"/>
                  <a:pt x="4964017" y="1075067"/>
                  <a:pt x="5019164" y="1087474"/>
                </a:cubicBezTo>
                <a:cubicBezTo>
                  <a:pt x="5035708" y="1091335"/>
                  <a:pt x="5051977" y="1099055"/>
                  <a:pt x="5053630" y="1117806"/>
                </a:cubicBezTo>
                <a:cubicBezTo>
                  <a:pt x="5055284" y="1137382"/>
                  <a:pt x="5038464" y="1145101"/>
                  <a:pt x="5024404" y="1154202"/>
                </a:cubicBezTo>
                <a:cubicBezTo>
                  <a:pt x="5004826" y="1166885"/>
                  <a:pt x="4985800" y="1177916"/>
                  <a:pt x="4960984" y="1179569"/>
                </a:cubicBezTo>
                <a:cubicBezTo>
                  <a:pt x="4920176" y="1182051"/>
                  <a:pt x="4900600" y="1217344"/>
                  <a:pt x="4876887" y="1243814"/>
                </a:cubicBezTo>
                <a:cubicBezTo>
                  <a:pt x="4863652" y="1258705"/>
                  <a:pt x="4857034" y="1288759"/>
                  <a:pt x="4880195" y="1293998"/>
                </a:cubicBezTo>
                <a:cubicBezTo>
                  <a:pt x="4935892" y="1306682"/>
                  <a:pt x="4931480" y="1343355"/>
                  <a:pt x="4930104" y="1384991"/>
                </a:cubicBezTo>
                <a:cubicBezTo>
                  <a:pt x="4928173" y="1436553"/>
                  <a:pt x="4895360" y="1460265"/>
                  <a:pt x="4855103" y="1480119"/>
                </a:cubicBezTo>
                <a:cubicBezTo>
                  <a:pt x="4841316" y="1487011"/>
                  <a:pt x="4821740" y="1486735"/>
                  <a:pt x="4816500" y="1508242"/>
                </a:cubicBezTo>
                <a:cubicBezTo>
                  <a:pt x="4839110" y="1528648"/>
                  <a:pt x="4866684" y="1512103"/>
                  <a:pt x="4890949" y="1517893"/>
                </a:cubicBezTo>
                <a:cubicBezTo>
                  <a:pt x="4911077" y="1522581"/>
                  <a:pt x="4944441" y="1520100"/>
                  <a:pt x="4916868" y="1557599"/>
                </a:cubicBezTo>
                <a:cubicBezTo>
                  <a:pt x="4908870" y="1568352"/>
                  <a:pt x="4918245" y="1576625"/>
                  <a:pt x="4928448" y="1577453"/>
                </a:cubicBezTo>
                <a:cubicBezTo>
                  <a:pt x="5010066" y="1586000"/>
                  <a:pt x="4972566" y="1661827"/>
                  <a:pt x="4998760" y="1701809"/>
                </a:cubicBezTo>
                <a:cubicBezTo>
                  <a:pt x="5005928" y="1712836"/>
                  <a:pt x="4998208" y="1731862"/>
                  <a:pt x="4986903" y="1736550"/>
                </a:cubicBezTo>
                <a:cubicBezTo>
                  <a:pt x="4914660" y="1767432"/>
                  <a:pt x="4904735" y="1841053"/>
                  <a:pt x="4869716" y="1904472"/>
                </a:cubicBezTo>
                <a:cubicBezTo>
                  <a:pt x="4907768" y="1929562"/>
                  <a:pt x="4953264" y="1935077"/>
                  <a:pt x="4994348" y="1951346"/>
                </a:cubicBezTo>
                <a:cubicBezTo>
                  <a:pt x="5037087" y="1968441"/>
                  <a:pt x="5037087" y="1981125"/>
                  <a:pt x="5001792" y="2030756"/>
                </a:cubicBezTo>
                <a:cubicBezTo>
                  <a:pt x="5093611" y="2041511"/>
                  <a:pt x="5093611" y="2041511"/>
                  <a:pt x="5065212" y="2119543"/>
                </a:cubicBezTo>
                <a:cubicBezTo>
                  <a:pt x="5142142" y="2126712"/>
                  <a:pt x="5192876" y="2163660"/>
                  <a:pt x="5204732" y="2244450"/>
                </a:cubicBezTo>
                <a:cubicBezTo>
                  <a:pt x="5210523" y="2283604"/>
                  <a:pt x="5245265" y="2302077"/>
                  <a:pt x="5283866" y="2328272"/>
                </a:cubicBezTo>
                <a:cubicBezTo>
                  <a:pt x="5235890" y="2353641"/>
                  <a:pt x="5203354" y="2406580"/>
                  <a:pt x="5147380" y="2350606"/>
                </a:cubicBezTo>
                <a:cubicBezTo>
                  <a:pt x="5126976" y="2330203"/>
                  <a:pt x="5128904" y="2356121"/>
                  <a:pt x="5126148" y="2363566"/>
                </a:cubicBezTo>
                <a:cubicBezTo>
                  <a:pt x="5119532" y="2381764"/>
                  <a:pt x="5133316" y="2393897"/>
                  <a:pt x="5142417" y="2407682"/>
                </a:cubicBezTo>
                <a:cubicBezTo>
                  <a:pt x="5151240" y="2421470"/>
                  <a:pt x="5161718" y="2436083"/>
                  <a:pt x="5164200" y="2451526"/>
                </a:cubicBezTo>
                <a:cubicBezTo>
                  <a:pt x="5165852" y="2462279"/>
                  <a:pt x="5157858" y="2477994"/>
                  <a:pt x="5149034" y="2485992"/>
                </a:cubicBezTo>
                <a:cubicBezTo>
                  <a:pt x="5102710" y="2528178"/>
                  <a:pt x="5130284" y="2623031"/>
                  <a:pt x="5042601" y="2635164"/>
                </a:cubicBezTo>
                <a:cubicBezTo>
                  <a:pt x="5003171" y="2640677"/>
                  <a:pt x="4984146" y="2675420"/>
                  <a:pt x="4955194" y="2694445"/>
                </a:cubicBezTo>
                <a:cubicBezTo>
                  <a:pt x="4854552" y="2760897"/>
                  <a:pt x="4787272" y="2846375"/>
                  <a:pt x="4756116" y="2963836"/>
                </a:cubicBezTo>
                <a:cubicBezTo>
                  <a:pt x="4747568" y="2996372"/>
                  <a:pt x="4714754" y="3022569"/>
                  <a:pt x="4693523" y="3051244"/>
                </a:cubicBezTo>
                <a:cubicBezTo>
                  <a:pt x="4703726" y="3072199"/>
                  <a:pt x="4759424" y="3026979"/>
                  <a:pt x="4739848" y="3082125"/>
                </a:cubicBezTo>
                <a:cubicBezTo>
                  <a:pt x="4724958" y="3123486"/>
                  <a:pt x="4686906" y="3149129"/>
                  <a:pt x="4651060" y="3173670"/>
                </a:cubicBezTo>
                <a:cubicBezTo>
                  <a:pt x="4610252" y="3201518"/>
                  <a:pt x="4565032" y="3223852"/>
                  <a:pt x="4546556" y="3275413"/>
                </a:cubicBezTo>
                <a:cubicBezTo>
                  <a:pt x="4542697" y="3286444"/>
                  <a:pt x="4530288" y="3298024"/>
                  <a:pt x="4519261" y="3302437"/>
                </a:cubicBezTo>
                <a:cubicBezTo>
                  <a:pt x="3944081" y="4209875"/>
                  <a:pt x="2528194" y="4215939"/>
                  <a:pt x="2364961" y="4209597"/>
                </a:cubicBezTo>
                <a:cubicBezTo>
                  <a:pt x="2167260" y="4201602"/>
                  <a:pt x="1980313" y="4145627"/>
                  <a:pt x="1796951" y="4075867"/>
                </a:cubicBezTo>
                <a:cubicBezTo>
                  <a:pt x="1719469" y="4046365"/>
                  <a:pt x="1647505" y="4004453"/>
                  <a:pt x="1572227" y="3971917"/>
                </a:cubicBezTo>
                <a:cubicBezTo>
                  <a:pt x="1468277" y="3926971"/>
                  <a:pt x="1388040" y="3841219"/>
                  <a:pt x="1284364" y="3805097"/>
                </a:cubicBezTo>
                <a:cubicBezTo>
                  <a:pt x="1177655" y="3767873"/>
                  <a:pt x="1086388" y="3699767"/>
                  <a:pt x="976645" y="3670815"/>
                </a:cubicBezTo>
                <a:cubicBezTo>
                  <a:pt x="918742" y="3655375"/>
                  <a:pt x="862768" y="3627527"/>
                  <a:pt x="871866" y="3547839"/>
                </a:cubicBezTo>
                <a:cubicBezTo>
                  <a:pt x="874349" y="3525228"/>
                  <a:pt x="859184" y="3506755"/>
                  <a:pt x="835195" y="3513373"/>
                </a:cubicBezTo>
                <a:cubicBezTo>
                  <a:pt x="789424" y="3525780"/>
                  <a:pt x="768744" y="3492967"/>
                  <a:pt x="743375" y="3468427"/>
                </a:cubicBezTo>
                <a:cubicBezTo>
                  <a:pt x="698156" y="3424863"/>
                  <a:pt x="655142" y="3378540"/>
                  <a:pt x="583175" y="3371370"/>
                </a:cubicBezTo>
                <a:cubicBezTo>
                  <a:pt x="596961" y="3337178"/>
                  <a:pt x="620399" y="3342142"/>
                  <a:pt x="641906" y="3349311"/>
                </a:cubicBezTo>
                <a:cubicBezTo>
                  <a:pt x="698432" y="3368062"/>
                  <a:pt x="754405" y="3389293"/>
                  <a:pt x="810930" y="3408042"/>
                </a:cubicBezTo>
                <a:cubicBezTo>
                  <a:pt x="847878" y="3420175"/>
                  <a:pt x="884551" y="3437271"/>
                  <a:pt x="933908" y="3423758"/>
                </a:cubicBezTo>
                <a:cubicBezTo>
                  <a:pt x="891445" y="3354826"/>
                  <a:pt x="819202" y="3342418"/>
                  <a:pt x="760747" y="3321187"/>
                </a:cubicBezTo>
                <a:cubicBezTo>
                  <a:pt x="687678" y="3294441"/>
                  <a:pt x="644664" y="3243980"/>
                  <a:pt x="593101" y="3187731"/>
                </a:cubicBezTo>
                <a:cubicBezTo>
                  <a:pt x="646869" y="3174220"/>
                  <a:pt x="680233" y="3215581"/>
                  <a:pt x="722419" y="3213374"/>
                </a:cubicBezTo>
                <a:cubicBezTo>
                  <a:pt x="724627" y="3206207"/>
                  <a:pt x="728486" y="3195729"/>
                  <a:pt x="727934" y="3195451"/>
                </a:cubicBezTo>
                <a:cubicBezTo>
                  <a:pt x="659002" y="3164570"/>
                  <a:pt x="626741" y="3106666"/>
                  <a:pt x="615987" y="3036630"/>
                </a:cubicBezTo>
                <a:cubicBezTo>
                  <a:pt x="610473" y="3000510"/>
                  <a:pt x="585381" y="2989205"/>
                  <a:pt x="560564" y="2972660"/>
                </a:cubicBezTo>
                <a:cubicBezTo>
                  <a:pt x="473984" y="2913930"/>
                  <a:pt x="382441" y="2860713"/>
                  <a:pt x="311302" y="2779924"/>
                </a:cubicBezTo>
                <a:cubicBezTo>
                  <a:pt x="393471" y="2790677"/>
                  <a:pt x="459371" y="2843341"/>
                  <a:pt x="547882" y="2865952"/>
                </a:cubicBezTo>
                <a:cubicBezTo>
                  <a:pt x="477570" y="2777166"/>
                  <a:pt x="386577" y="2732222"/>
                  <a:pt x="303582" y="2678453"/>
                </a:cubicBezTo>
                <a:cubicBezTo>
                  <a:pt x="265806" y="2653913"/>
                  <a:pt x="230790" y="2622479"/>
                  <a:pt x="185016" y="2609244"/>
                </a:cubicBezTo>
                <a:cubicBezTo>
                  <a:pt x="168748" y="2604556"/>
                  <a:pt x="142002" y="2594630"/>
                  <a:pt x="154963" y="2568435"/>
                </a:cubicBezTo>
                <a:cubicBezTo>
                  <a:pt x="165990" y="2546654"/>
                  <a:pt x="187773" y="2553269"/>
                  <a:pt x="207627" y="2559612"/>
                </a:cubicBezTo>
                <a:cubicBezTo>
                  <a:pt x="255328" y="2575330"/>
                  <a:pt x="304685" y="2575604"/>
                  <a:pt x="369207" y="2575330"/>
                </a:cubicBezTo>
                <a:cubicBezTo>
                  <a:pt x="315163" y="2503363"/>
                  <a:pt x="216174" y="2524871"/>
                  <a:pt x="169852" y="2449319"/>
                </a:cubicBezTo>
                <a:cubicBezTo>
                  <a:pt x="227755" y="2436083"/>
                  <a:pt x="272424" y="2463381"/>
                  <a:pt x="319299" y="2468619"/>
                </a:cubicBezTo>
                <a:cubicBezTo>
                  <a:pt x="361761" y="2473307"/>
                  <a:pt x="372239" y="2460624"/>
                  <a:pt x="362313" y="2418988"/>
                </a:cubicBezTo>
                <a:cubicBezTo>
                  <a:pt x="346873" y="2354190"/>
                  <a:pt x="370034" y="2321102"/>
                  <a:pt x="431798" y="2338750"/>
                </a:cubicBezTo>
                <a:cubicBezTo>
                  <a:pt x="489149" y="2355293"/>
                  <a:pt x="495215" y="2331030"/>
                  <a:pt x="479775" y="2294082"/>
                </a:cubicBezTo>
                <a:cubicBezTo>
                  <a:pt x="457716" y="2240315"/>
                  <a:pt x="482807" y="2198678"/>
                  <a:pt x="499903" y="2153458"/>
                </a:cubicBezTo>
                <a:cubicBezTo>
                  <a:pt x="526099" y="2084525"/>
                  <a:pt x="515069" y="2050885"/>
                  <a:pt x="458544" y="1999599"/>
                </a:cubicBezTo>
                <a:cubicBezTo>
                  <a:pt x="426835" y="1970921"/>
                  <a:pt x="392645" y="1946658"/>
                  <a:pt x="346596" y="1921843"/>
                </a:cubicBezTo>
                <a:cubicBezTo>
                  <a:pt x="452753" y="1908331"/>
                  <a:pt x="341358" y="1862836"/>
                  <a:pt x="378857" y="1834435"/>
                </a:cubicBezTo>
                <a:cubicBezTo>
                  <a:pt x="453856" y="1822854"/>
                  <a:pt x="515069" y="1913294"/>
                  <a:pt x="617091" y="1887376"/>
                </a:cubicBezTo>
                <a:cubicBezTo>
                  <a:pt x="491080" y="1809066"/>
                  <a:pt x="351835" y="1783423"/>
                  <a:pt x="260568" y="1679198"/>
                </a:cubicBezTo>
                <a:cubicBezTo>
                  <a:pt x="281523" y="1655484"/>
                  <a:pt x="302479" y="1677543"/>
                  <a:pt x="320402" y="1668720"/>
                </a:cubicBezTo>
                <a:cubicBezTo>
                  <a:pt x="319850" y="1663205"/>
                  <a:pt x="321230" y="1654932"/>
                  <a:pt x="317920" y="1652452"/>
                </a:cubicBezTo>
                <a:cubicBezTo>
                  <a:pt x="249815" y="1595650"/>
                  <a:pt x="248711" y="1594273"/>
                  <a:pt x="321779" y="1552359"/>
                </a:cubicBezTo>
                <a:cubicBezTo>
                  <a:pt x="347424" y="1537746"/>
                  <a:pt x="345218" y="1524786"/>
                  <a:pt x="331707" y="1506313"/>
                </a:cubicBezTo>
                <a:cubicBezTo>
                  <a:pt x="322055" y="1493353"/>
                  <a:pt x="310475" y="1481772"/>
                  <a:pt x="315990" y="1453371"/>
                </a:cubicBezTo>
                <a:cubicBezTo>
                  <a:pt x="355971" y="1489769"/>
                  <a:pt x="549259" y="1477912"/>
                  <a:pt x="583450" y="1474052"/>
                </a:cubicBezTo>
                <a:cubicBezTo>
                  <a:pt x="621777" y="1469917"/>
                  <a:pt x="659553" y="1452269"/>
                  <a:pt x="699809" y="1461919"/>
                </a:cubicBezTo>
                <a:cubicBezTo>
                  <a:pt x="732070" y="1469641"/>
                  <a:pt x="881516" y="1544364"/>
                  <a:pt x="902750" y="1458612"/>
                </a:cubicBezTo>
                <a:cubicBezTo>
                  <a:pt x="903853" y="1454475"/>
                  <a:pt x="964237" y="1464127"/>
                  <a:pt x="996774" y="1468814"/>
                </a:cubicBezTo>
                <a:cubicBezTo>
                  <a:pt x="1025451" y="1472674"/>
                  <a:pt x="1057712" y="1489769"/>
                  <a:pt x="1077012" y="1455578"/>
                </a:cubicBezTo>
                <a:cubicBezTo>
                  <a:pt x="1088317" y="1435450"/>
                  <a:pt x="1041719" y="1396571"/>
                  <a:pt x="1000083" y="1393262"/>
                </a:cubicBezTo>
                <a:cubicBezTo>
                  <a:pt x="963961" y="1390229"/>
                  <a:pt x="926186" y="1385817"/>
                  <a:pt x="891720" y="1394089"/>
                </a:cubicBezTo>
                <a:cubicBezTo>
                  <a:pt x="849258" y="1404017"/>
                  <a:pt x="826372" y="1388024"/>
                  <a:pt x="814515" y="1353557"/>
                </a:cubicBezTo>
                <a:cubicBezTo>
                  <a:pt x="801280" y="1315506"/>
                  <a:pt x="775911" y="1297858"/>
                  <a:pt x="740895" y="1280211"/>
                </a:cubicBezTo>
                <a:cubicBezTo>
                  <a:pt x="655967" y="1237474"/>
                  <a:pt x="574352" y="1188118"/>
                  <a:pt x="481154" y="1163301"/>
                </a:cubicBezTo>
                <a:cubicBezTo>
                  <a:pt x="462679" y="1158337"/>
                  <a:pt x="442276" y="1151719"/>
                  <a:pt x="433728" y="1118909"/>
                </a:cubicBezTo>
                <a:cubicBezTo>
                  <a:pt x="686023" y="1167987"/>
                  <a:pt x="915984" y="1295929"/>
                  <a:pt x="1176276" y="1288484"/>
                </a:cubicBezTo>
                <a:cubicBezTo>
                  <a:pt x="1105137" y="1247950"/>
                  <a:pt x="1022694" y="1245745"/>
                  <a:pt x="946867" y="1217344"/>
                </a:cubicBezTo>
                <a:cubicBezTo>
                  <a:pt x="1000635" y="1196113"/>
                  <a:pt x="1051094" y="1218172"/>
                  <a:pt x="1102104" y="1230304"/>
                </a:cubicBezTo>
                <a:cubicBezTo>
                  <a:pt x="1144843" y="1240230"/>
                  <a:pt x="1183446" y="1241885"/>
                  <a:pt x="1188133" y="1182603"/>
                </a:cubicBezTo>
                <a:cubicBezTo>
                  <a:pt x="1186478" y="1178742"/>
                  <a:pt x="1186754" y="1173780"/>
                  <a:pt x="1187030" y="1169092"/>
                </a:cubicBezTo>
                <a:cubicBezTo>
                  <a:pt x="1172690" y="1144552"/>
                  <a:pt x="1150358" y="1131868"/>
                  <a:pt x="1123887" y="1124698"/>
                </a:cubicBezTo>
                <a:cubicBezTo>
                  <a:pt x="1107894" y="1120286"/>
                  <a:pt x="1086663" y="1113668"/>
                  <a:pt x="1086938" y="1096023"/>
                </a:cubicBezTo>
                <a:cubicBezTo>
                  <a:pt x="1087765" y="1030674"/>
                  <a:pt x="1036756" y="1011647"/>
                  <a:pt x="985744" y="992622"/>
                </a:cubicBezTo>
                <a:cubicBezTo>
                  <a:pt x="1014145" y="960086"/>
                  <a:pt x="1036479" y="984074"/>
                  <a:pt x="1057987" y="981594"/>
                </a:cubicBezTo>
                <a:cubicBezTo>
                  <a:pt x="1072049" y="979939"/>
                  <a:pt x="1084733" y="976906"/>
                  <a:pt x="1084733" y="960086"/>
                </a:cubicBezTo>
                <a:cubicBezTo>
                  <a:pt x="1085008" y="946023"/>
                  <a:pt x="1078390" y="930030"/>
                  <a:pt x="1064605" y="929756"/>
                </a:cubicBezTo>
                <a:cubicBezTo>
                  <a:pt x="978300" y="927273"/>
                  <a:pt x="930599" y="836833"/>
                  <a:pt x="840985" y="836558"/>
                </a:cubicBezTo>
                <a:cubicBezTo>
                  <a:pt x="787493" y="836558"/>
                  <a:pt x="868834" y="785547"/>
                  <a:pt x="823615" y="764315"/>
                </a:cubicBezTo>
                <a:cubicBezTo>
                  <a:pt x="813687" y="759628"/>
                  <a:pt x="849533" y="752460"/>
                  <a:pt x="865526" y="753562"/>
                </a:cubicBezTo>
                <a:cubicBezTo>
                  <a:pt x="881242" y="754665"/>
                  <a:pt x="895304" y="768175"/>
                  <a:pt x="914331" y="758525"/>
                </a:cubicBezTo>
                <a:cubicBezTo>
                  <a:pt x="924808" y="724059"/>
                  <a:pt x="897787" y="711375"/>
                  <a:pt x="875452" y="701724"/>
                </a:cubicBezTo>
                <a:cubicBezTo>
                  <a:pt x="823889" y="679390"/>
                  <a:pt x="773706" y="652369"/>
                  <a:pt x="717181" y="644371"/>
                </a:cubicBezTo>
                <a:cubicBezTo>
                  <a:pt x="697053" y="641614"/>
                  <a:pt x="746133" y="604666"/>
                  <a:pt x="755783" y="591707"/>
                </a:cubicBezTo>
                <a:cubicBezTo>
                  <a:pt x="528304" y="455496"/>
                  <a:pt x="254778" y="462388"/>
                  <a:pt x="0" y="352370"/>
                </a:cubicBezTo>
                <a:cubicBezTo>
                  <a:pt x="56250" y="330864"/>
                  <a:pt x="97610" y="346580"/>
                  <a:pt x="135937" y="349889"/>
                </a:cubicBezTo>
                <a:cubicBezTo>
                  <a:pt x="231615" y="358160"/>
                  <a:pt x="326193" y="375256"/>
                  <a:pt x="421595" y="385458"/>
                </a:cubicBezTo>
                <a:cubicBezTo>
                  <a:pt x="468469" y="390421"/>
                  <a:pt x="512035" y="409172"/>
                  <a:pt x="564424" y="379393"/>
                </a:cubicBezTo>
                <a:cubicBezTo>
                  <a:pt x="599443" y="359540"/>
                  <a:pt x="655418" y="381046"/>
                  <a:pt x="698432" y="398694"/>
                </a:cubicBezTo>
                <a:cubicBezTo>
                  <a:pt x="734000" y="413307"/>
                  <a:pt x="767916" y="417167"/>
                  <a:pt x="815067" y="398694"/>
                </a:cubicBezTo>
                <a:cubicBezTo>
                  <a:pt x="772328" y="387389"/>
                  <a:pt x="739515" y="377463"/>
                  <a:pt x="705876" y="370568"/>
                </a:cubicBezTo>
                <a:cubicBezTo>
                  <a:pt x="679130" y="365055"/>
                  <a:pt x="742825" y="342719"/>
                  <a:pt x="775360" y="345477"/>
                </a:cubicBezTo>
                <a:cubicBezTo>
                  <a:pt x="820857" y="349337"/>
                  <a:pt x="795214" y="335000"/>
                  <a:pt x="787493" y="315146"/>
                </a:cubicBezTo>
                <a:cubicBezTo>
                  <a:pt x="779221" y="293915"/>
                  <a:pt x="803761" y="287298"/>
                  <a:pt x="819202" y="291709"/>
                </a:cubicBezTo>
                <a:cubicBezTo>
                  <a:pt x="878484" y="309081"/>
                  <a:pt x="937491" y="278474"/>
                  <a:pt x="998705" y="303291"/>
                </a:cubicBezTo>
                <a:cubicBezTo>
                  <a:pt x="983263" y="242077"/>
                  <a:pt x="949899" y="215331"/>
                  <a:pt x="880139" y="206783"/>
                </a:cubicBezTo>
                <a:cubicBezTo>
                  <a:pt x="853944" y="203475"/>
                  <a:pt x="826647" y="208438"/>
                  <a:pt x="804037" y="190790"/>
                </a:cubicBezTo>
                <a:cubicBezTo>
                  <a:pt x="791076" y="180590"/>
                  <a:pt x="776463" y="168457"/>
                  <a:pt x="786666" y="149707"/>
                </a:cubicBezTo>
                <a:cubicBezTo>
                  <a:pt x="793834" y="136471"/>
                  <a:pt x="809276" y="136471"/>
                  <a:pt x="821960" y="140884"/>
                </a:cubicBezTo>
                <a:cubicBezTo>
                  <a:pt x="878761" y="160461"/>
                  <a:pt x="938043" y="167630"/>
                  <a:pt x="997325" y="174800"/>
                </a:cubicBezTo>
                <a:cubicBezTo>
                  <a:pt x="1006426" y="175902"/>
                  <a:pt x="1016626" y="179487"/>
                  <a:pt x="1026829" y="161287"/>
                </a:cubicBezTo>
                <a:cubicBezTo>
                  <a:pt x="915984" y="131783"/>
                  <a:pt x="810655" y="89872"/>
                  <a:pt x="696777" y="73604"/>
                </a:cubicBezTo>
                <a:cubicBezTo>
                  <a:pt x="698432" y="65884"/>
                  <a:pt x="700086" y="58164"/>
                  <a:pt x="701741" y="50444"/>
                </a:cubicBezTo>
                <a:cubicBezTo>
                  <a:pt x="790801" y="61471"/>
                  <a:pt x="879864" y="72501"/>
                  <a:pt x="992362" y="86289"/>
                </a:cubicBezTo>
                <a:cubicBezTo>
                  <a:pt x="923153" y="42446"/>
                  <a:pt x="857805" y="57060"/>
                  <a:pt x="806519" y="18183"/>
                </a:cubicBezTo>
                <a:cubicBezTo>
                  <a:pt x="816170" y="3431"/>
                  <a:pt x="827820" y="-292"/>
                  <a:pt x="839883" y="18"/>
                </a:cubicBezTo>
                <a:close/>
              </a:path>
            </a:pathLst>
          </a:custGeom>
        </p:spPr>
      </p:pic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C699AA8B-7A5E-4FC9-95B3-126B8FB587F4}"/>
              </a:ext>
            </a:extLst>
          </p:cNvPr>
          <p:cNvCxnSpPr/>
          <p:nvPr/>
        </p:nvCxnSpPr>
        <p:spPr>
          <a:xfrm flipV="1">
            <a:off x="838200" y="1359877"/>
            <a:ext cx="5257800" cy="4228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552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7A4ED5-9008-415B-836C-830FAA0BF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Knowledge Sharing Centre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3C75AC9-B3AC-4EBC-82FB-330A4C631E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fld id="{088EB633-4A45-4AEB-BF8F-4F0AEB6ED8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Vrije vorm: vorm 4">
            <a:hlinkClick r:id="rId2"/>
            <a:extLst>
              <a:ext uri="{FF2B5EF4-FFF2-40B4-BE49-F238E27FC236}">
                <a16:creationId xmlns:a16="http://schemas.microsoft.com/office/drawing/2014/main" id="{6AE467D8-F269-4F5E-98EC-83AFEF2269F2}"/>
              </a:ext>
            </a:extLst>
          </p:cNvPr>
          <p:cNvSpPr/>
          <p:nvPr/>
        </p:nvSpPr>
        <p:spPr>
          <a:xfrm>
            <a:off x="3878563" y="1314134"/>
            <a:ext cx="4551680" cy="4551680"/>
          </a:xfrm>
          <a:custGeom>
            <a:avLst/>
            <a:gdLst>
              <a:gd name="connsiteX0" fmla="*/ 2275840 w 4551680"/>
              <a:gd name="connsiteY0" fmla="*/ 0 h 4551680"/>
              <a:gd name="connsiteX1" fmla="*/ 4551680 w 4551680"/>
              <a:gd name="connsiteY1" fmla="*/ 2275840 h 4551680"/>
              <a:gd name="connsiteX2" fmla="*/ 2275840 w 4551680"/>
              <a:gd name="connsiteY2" fmla="*/ 2275840 h 4551680"/>
              <a:gd name="connsiteX3" fmla="*/ 2275840 w 4551680"/>
              <a:gd name="connsiteY3" fmla="*/ 0 h 455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680" h="4551680">
                <a:moveTo>
                  <a:pt x="2275840" y="0"/>
                </a:moveTo>
                <a:cubicBezTo>
                  <a:pt x="3532752" y="0"/>
                  <a:pt x="4551680" y="1018928"/>
                  <a:pt x="4551680" y="2275840"/>
                </a:cubicBezTo>
                <a:lnTo>
                  <a:pt x="2275840" y="2275840"/>
                </a:lnTo>
                <a:lnTo>
                  <a:pt x="227584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spcFirstLastPara="0" vert="horz" wrap="square" lIns="2449203" tIns="976410" rIns="488731" bIns="2395017" numCol="1" spcCol="1270" anchor="ctr" anchorCtr="0">
            <a:noAutofit/>
          </a:bodyPr>
          <a:lstStyle/>
          <a:p>
            <a:pPr marL="0" marR="0" lvl="0" indent="0" algn="ctr" defTabSz="1155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SC Academy</a:t>
            </a:r>
          </a:p>
        </p:txBody>
      </p:sp>
      <p:sp>
        <p:nvSpPr>
          <p:cNvPr id="6" name="Vrije vorm: vorm 5">
            <a:hlinkClick r:id="rId3"/>
            <a:extLst>
              <a:ext uri="{FF2B5EF4-FFF2-40B4-BE49-F238E27FC236}">
                <a16:creationId xmlns:a16="http://schemas.microsoft.com/office/drawing/2014/main" id="{5826C7C5-BB79-4C84-9CEC-58958B70B045}"/>
              </a:ext>
            </a:extLst>
          </p:cNvPr>
          <p:cNvSpPr/>
          <p:nvPr/>
        </p:nvSpPr>
        <p:spPr>
          <a:xfrm>
            <a:off x="3878563" y="1466940"/>
            <a:ext cx="4551680" cy="4551680"/>
          </a:xfrm>
          <a:custGeom>
            <a:avLst/>
            <a:gdLst>
              <a:gd name="connsiteX0" fmla="*/ 4551680 w 4551680"/>
              <a:gd name="connsiteY0" fmla="*/ 2275840 h 4551680"/>
              <a:gd name="connsiteX1" fmla="*/ 2275840 w 4551680"/>
              <a:gd name="connsiteY1" fmla="*/ 4551680 h 4551680"/>
              <a:gd name="connsiteX2" fmla="*/ 2275840 w 4551680"/>
              <a:gd name="connsiteY2" fmla="*/ 2275840 h 4551680"/>
              <a:gd name="connsiteX3" fmla="*/ 4551680 w 4551680"/>
              <a:gd name="connsiteY3" fmla="*/ 2275840 h 455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680" h="4551680">
                <a:moveTo>
                  <a:pt x="4551680" y="2275840"/>
                </a:moveTo>
                <a:cubicBezTo>
                  <a:pt x="4551680" y="3532752"/>
                  <a:pt x="3532752" y="4551680"/>
                  <a:pt x="2275840" y="4551680"/>
                </a:cubicBezTo>
                <a:lnTo>
                  <a:pt x="2275840" y="2275840"/>
                </a:lnTo>
                <a:lnTo>
                  <a:pt x="4551680" y="2275840"/>
                </a:lnTo>
                <a:close/>
              </a:path>
            </a:pathLst>
          </a:cu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spcFirstLastPara="0" vert="horz" wrap="square" lIns="2449203" tIns="2395017" rIns="488731" bIns="976410" numCol="1" spcCol="1270" anchor="ctr" anchorCtr="0">
            <a:noAutofit/>
          </a:bodyPr>
          <a:lstStyle/>
          <a:p>
            <a:pPr marL="0" marR="0" lvl="0" indent="0" algn="ctr" defTabSz="1155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SC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tform</a:t>
            </a:r>
          </a:p>
        </p:txBody>
      </p:sp>
      <p:sp>
        <p:nvSpPr>
          <p:cNvPr id="7" name="Vrije vorm: vorm 6">
            <a:hlinkClick r:id="rId4"/>
            <a:extLst>
              <a:ext uri="{FF2B5EF4-FFF2-40B4-BE49-F238E27FC236}">
                <a16:creationId xmlns:a16="http://schemas.microsoft.com/office/drawing/2014/main" id="{4D23A49D-EFA7-44E6-BAA2-AB3244918553}"/>
              </a:ext>
            </a:extLst>
          </p:cNvPr>
          <p:cNvSpPr/>
          <p:nvPr/>
        </p:nvSpPr>
        <p:spPr>
          <a:xfrm>
            <a:off x="3725756" y="1466940"/>
            <a:ext cx="4551680" cy="4551680"/>
          </a:xfrm>
          <a:custGeom>
            <a:avLst/>
            <a:gdLst>
              <a:gd name="connsiteX0" fmla="*/ 2275840 w 4551680"/>
              <a:gd name="connsiteY0" fmla="*/ 4551680 h 4551680"/>
              <a:gd name="connsiteX1" fmla="*/ 0 w 4551680"/>
              <a:gd name="connsiteY1" fmla="*/ 2275840 h 4551680"/>
              <a:gd name="connsiteX2" fmla="*/ 2275840 w 4551680"/>
              <a:gd name="connsiteY2" fmla="*/ 2275840 h 4551680"/>
              <a:gd name="connsiteX3" fmla="*/ 2275840 w 4551680"/>
              <a:gd name="connsiteY3" fmla="*/ 4551680 h 455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680" h="4551680">
                <a:moveTo>
                  <a:pt x="2275840" y="4551680"/>
                </a:moveTo>
                <a:cubicBezTo>
                  <a:pt x="1018928" y="4551680"/>
                  <a:pt x="0" y="3532752"/>
                  <a:pt x="0" y="2275840"/>
                </a:cubicBezTo>
                <a:lnTo>
                  <a:pt x="2275840" y="2275840"/>
                </a:lnTo>
                <a:lnTo>
                  <a:pt x="2275840" y="4551680"/>
                </a:lnTo>
                <a:close/>
              </a:path>
            </a:pathLst>
          </a:cu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spcFirstLastPara="0" vert="horz" wrap="square" lIns="488730" tIns="2395017" rIns="2449204" bIns="976410" numCol="1" spcCol="1270" anchor="ctr" anchorCtr="0">
            <a:noAutofit/>
          </a:bodyPr>
          <a:lstStyle/>
          <a:p>
            <a:pPr marL="0" marR="0" lvl="0" indent="0" algn="ctr" defTabSz="1155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SC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ents</a:t>
            </a:r>
          </a:p>
        </p:txBody>
      </p:sp>
      <p:sp>
        <p:nvSpPr>
          <p:cNvPr id="8" name="Vrije vorm: vorm 7">
            <a:hlinkClick r:id="rId5"/>
            <a:extLst>
              <a:ext uri="{FF2B5EF4-FFF2-40B4-BE49-F238E27FC236}">
                <a16:creationId xmlns:a16="http://schemas.microsoft.com/office/drawing/2014/main" id="{7C0BB377-1BB9-4ACA-8289-433D0DF175C3}"/>
              </a:ext>
            </a:extLst>
          </p:cNvPr>
          <p:cNvSpPr/>
          <p:nvPr/>
        </p:nvSpPr>
        <p:spPr>
          <a:xfrm>
            <a:off x="3725756" y="1314134"/>
            <a:ext cx="4551680" cy="4551680"/>
          </a:xfrm>
          <a:custGeom>
            <a:avLst/>
            <a:gdLst>
              <a:gd name="connsiteX0" fmla="*/ 0 w 4551680"/>
              <a:gd name="connsiteY0" fmla="*/ 2275840 h 4551680"/>
              <a:gd name="connsiteX1" fmla="*/ 2275840 w 4551680"/>
              <a:gd name="connsiteY1" fmla="*/ 0 h 4551680"/>
              <a:gd name="connsiteX2" fmla="*/ 2275840 w 4551680"/>
              <a:gd name="connsiteY2" fmla="*/ 2275840 h 4551680"/>
              <a:gd name="connsiteX3" fmla="*/ 0 w 4551680"/>
              <a:gd name="connsiteY3" fmla="*/ 2275840 h 455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551680" h="4551680">
                <a:moveTo>
                  <a:pt x="0" y="2275840"/>
                </a:moveTo>
                <a:cubicBezTo>
                  <a:pt x="0" y="1018928"/>
                  <a:pt x="1018928" y="0"/>
                  <a:pt x="2275840" y="0"/>
                </a:cubicBezTo>
                <a:lnTo>
                  <a:pt x="2275840" y="2275840"/>
                </a:lnTo>
                <a:lnTo>
                  <a:pt x="0" y="2275840"/>
                </a:lnTo>
                <a:close/>
              </a:path>
            </a:pathLst>
          </a:cu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spcFirstLastPara="0" vert="horz" wrap="square" lIns="488730" tIns="976410" rIns="2449204" bIns="2395017" numCol="1" spcCol="1270" anchor="ctr" anchorCtr="0">
            <a:noAutofit/>
          </a:bodyPr>
          <a:lstStyle/>
          <a:p>
            <a:pPr marL="0" marR="0" lvl="0" indent="0" algn="ctr" defTabSz="11557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SC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jects</a:t>
            </a:r>
          </a:p>
        </p:txBody>
      </p:sp>
      <p:sp>
        <p:nvSpPr>
          <p:cNvPr id="9" name="Pijl: draaiend 8">
            <a:extLst>
              <a:ext uri="{FF2B5EF4-FFF2-40B4-BE49-F238E27FC236}">
                <a16:creationId xmlns:a16="http://schemas.microsoft.com/office/drawing/2014/main" id="{C6E68F8A-ADA2-446E-A75F-184DE6DB4F20}"/>
              </a:ext>
            </a:extLst>
          </p:cNvPr>
          <p:cNvSpPr/>
          <p:nvPr/>
        </p:nvSpPr>
        <p:spPr>
          <a:xfrm>
            <a:off x="3596792" y="1032363"/>
            <a:ext cx="5115221" cy="5115221"/>
          </a:xfrm>
          <a:prstGeom prst="circularArrow">
            <a:avLst>
              <a:gd name="adj1" fmla="val 5085"/>
              <a:gd name="adj2" fmla="val 327528"/>
              <a:gd name="adj3" fmla="val 21272472"/>
              <a:gd name="adj4" fmla="val 16200000"/>
              <a:gd name="adj5" fmla="val 5932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ijl: draaiend 9">
            <a:extLst>
              <a:ext uri="{FF2B5EF4-FFF2-40B4-BE49-F238E27FC236}">
                <a16:creationId xmlns:a16="http://schemas.microsoft.com/office/drawing/2014/main" id="{8748C699-1458-4C7D-811F-B8EEC2675365}"/>
              </a:ext>
            </a:extLst>
          </p:cNvPr>
          <p:cNvSpPr/>
          <p:nvPr/>
        </p:nvSpPr>
        <p:spPr>
          <a:xfrm>
            <a:off x="3596792" y="1185169"/>
            <a:ext cx="5115221" cy="5115221"/>
          </a:xfrm>
          <a:prstGeom prst="circularArrow">
            <a:avLst>
              <a:gd name="adj1" fmla="val 5085"/>
              <a:gd name="adj2" fmla="val 327528"/>
              <a:gd name="adj3" fmla="val 5072472"/>
              <a:gd name="adj4" fmla="val 0"/>
              <a:gd name="adj5" fmla="val 5932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ijl: draaiend 10">
            <a:extLst>
              <a:ext uri="{FF2B5EF4-FFF2-40B4-BE49-F238E27FC236}">
                <a16:creationId xmlns:a16="http://schemas.microsoft.com/office/drawing/2014/main" id="{9E4DABE2-94F3-4E63-AF79-93E513CEE1DA}"/>
              </a:ext>
            </a:extLst>
          </p:cNvPr>
          <p:cNvSpPr/>
          <p:nvPr/>
        </p:nvSpPr>
        <p:spPr>
          <a:xfrm>
            <a:off x="3443985" y="1185169"/>
            <a:ext cx="5115221" cy="5115221"/>
          </a:xfrm>
          <a:prstGeom prst="circularArrow">
            <a:avLst>
              <a:gd name="adj1" fmla="val 5085"/>
              <a:gd name="adj2" fmla="val 327528"/>
              <a:gd name="adj3" fmla="val 10472472"/>
              <a:gd name="adj4" fmla="val 5400000"/>
              <a:gd name="adj5" fmla="val 5932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ijl: draaiend 11">
            <a:extLst>
              <a:ext uri="{FF2B5EF4-FFF2-40B4-BE49-F238E27FC236}">
                <a16:creationId xmlns:a16="http://schemas.microsoft.com/office/drawing/2014/main" id="{150CC52F-A42D-42DF-871B-13D77D75CDE5}"/>
              </a:ext>
            </a:extLst>
          </p:cNvPr>
          <p:cNvSpPr/>
          <p:nvPr/>
        </p:nvSpPr>
        <p:spPr>
          <a:xfrm>
            <a:off x="3443985" y="1032363"/>
            <a:ext cx="5115221" cy="5115221"/>
          </a:xfrm>
          <a:prstGeom prst="circularArrow">
            <a:avLst>
              <a:gd name="adj1" fmla="val 5085"/>
              <a:gd name="adj2" fmla="val 327528"/>
              <a:gd name="adj3" fmla="val 15872472"/>
              <a:gd name="adj4" fmla="val 10800000"/>
              <a:gd name="adj5" fmla="val 5932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98F9048C-60D2-42E9-98BF-066A0866E7B9}"/>
              </a:ext>
            </a:extLst>
          </p:cNvPr>
          <p:cNvSpPr/>
          <p:nvPr/>
        </p:nvSpPr>
        <p:spPr>
          <a:xfrm rot="2619272">
            <a:off x="3439862" y="923083"/>
            <a:ext cx="5312277" cy="552258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00" b="0" i="0" u="none" strike="noStrike" kern="1200" cap="none" spc="0" normalizeH="0" baseline="0" noProof="0" dirty="0">
                <a:ln w="0"/>
                <a:solidFill>
                  <a:srgbClr val="ED7D31">
                    <a:lumMod val="40000"/>
                    <a:lumOff val="60000"/>
                  </a:srgbClr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ecure</a:t>
            </a: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C3A8B00D-41B5-4A76-9952-50CA3F08BCD8}"/>
              </a:ext>
            </a:extLst>
          </p:cNvPr>
          <p:cNvSpPr/>
          <p:nvPr/>
        </p:nvSpPr>
        <p:spPr>
          <a:xfrm rot="7773875">
            <a:off x="3432480" y="948041"/>
            <a:ext cx="5312277" cy="552258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00" b="0" i="0" u="none" strike="noStrike" kern="1200" cap="none" spc="0" normalizeH="0" baseline="0" noProof="0" dirty="0">
                <a:ln w="0"/>
                <a:solidFill>
                  <a:srgbClr val="ED7D31">
                    <a:lumMod val="60000"/>
                    <a:lumOff val="40000"/>
                  </a:srgbClr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hare</a:t>
            </a: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DE340274-7304-4765-B91E-D64B27637734}"/>
              </a:ext>
            </a:extLst>
          </p:cNvPr>
          <p:cNvSpPr/>
          <p:nvPr/>
        </p:nvSpPr>
        <p:spPr>
          <a:xfrm rot="13566293">
            <a:off x="3592262" y="1075483"/>
            <a:ext cx="5312277" cy="552258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00" b="0" i="0" u="none" strike="noStrike" kern="1200" cap="none" spc="0" normalizeH="0" baseline="0" noProof="0" dirty="0">
                <a:ln w="0"/>
                <a:solidFill>
                  <a:srgbClr val="ED7D31">
                    <a:lumMod val="75000"/>
                  </a:srgbClr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Tell</a:t>
            </a:r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75DAADBE-F0A3-41EC-8C32-381750A5C285}"/>
              </a:ext>
            </a:extLst>
          </p:cNvPr>
          <p:cNvSpPr/>
          <p:nvPr/>
        </p:nvSpPr>
        <p:spPr>
          <a:xfrm rot="18952827">
            <a:off x="3423894" y="923082"/>
            <a:ext cx="5312277" cy="5522587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00" b="0" i="0" u="none" strike="noStrike" kern="1200" cap="none" spc="0" normalizeH="0" baseline="0" noProof="0" dirty="0">
                <a:ln w="0"/>
                <a:solidFill>
                  <a:srgbClr val="ED7D31">
                    <a:lumMod val="50000"/>
                  </a:srgbClr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Show</a:t>
            </a: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92188BE5-83ED-4FD9-AC4A-48F177C9027F}"/>
              </a:ext>
            </a:extLst>
          </p:cNvPr>
          <p:cNvSpPr txBox="1"/>
          <p:nvPr/>
        </p:nvSpPr>
        <p:spPr>
          <a:xfrm>
            <a:off x="5279122" y="3176543"/>
            <a:ext cx="163375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6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rPr>
              <a:t>KSC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kstvak 17">
            <a:extLst>
              <a:ext uri="{FF2B5EF4-FFF2-40B4-BE49-F238E27FC236}">
                <a16:creationId xmlns:a16="http://schemas.microsoft.com/office/drawing/2014/main" id="{AD58DFC9-A848-4B83-B0DD-AD53D4093C0A}"/>
              </a:ext>
            </a:extLst>
          </p:cNvPr>
          <p:cNvSpPr txBox="1"/>
          <p:nvPr/>
        </p:nvSpPr>
        <p:spPr>
          <a:xfrm>
            <a:off x="9236605" y="1348354"/>
            <a:ext cx="2739153" cy="230832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rPr>
              <a:t>De sterkte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rPr>
              <a:t>van het </a:t>
            </a: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rPr>
              <a:t>KSC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Barlow" panose="00000500000000000000" pitchFamily="2" charset="0"/>
                <a:ea typeface="+mn-ea"/>
                <a:cs typeface="+mn-cs"/>
              </a:rPr>
              <a:t> zit hem in de samenwerking tussen de verschillende unieke entiteiten, ieder met hun eigen toegevoegde waarde. Om zo te komen tot delen om gezamenlijke groei en samenwerking te bevorderen.</a:t>
            </a:r>
          </a:p>
        </p:txBody>
      </p:sp>
    </p:spTree>
    <p:extLst>
      <p:ext uri="{BB962C8B-B14F-4D97-AF65-F5344CB8AC3E}">
        <p14:creationId xmlns:p14="http://schemas.microsoft.com/office/powerpoint/2010/main" val="2528905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/>
      <p:bldP spid="14" grpId="0"/>
      <p:bldP spid="15" grpId="0"/>
      <p:bldP spid="16" grpId="0"/>
      <p:bldP spid="17" grpId="0"/>
      <p:bldP spid="1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AF968F99-E4C5-4E5B-B04F-BBF7733911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8EB633-4A45-4AEB-BF8F-4F0AEB6ED8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359FAFA7-C978-458A-B73E-7B2875D9AEF8}"/>
              </a:ext>
            </a:extLst>
          </p:cNvPr>
          <p:cNvSpPr/>
          <p:nvPr/>
        </p:nvSpPr>
        <p:spPr>
          <a:xfrm>
            <a:off x="8064487" y="995092"/>
            <a:ext cx="2011680" cy="5630469"/>
          </a:xfrm>
          <a:prstGeom prst="rect">
            <a:avLst/>
          </a:prstGeom>
          <a:solidFill>
            <a:srgbClr val="00B0F0">
              <a:alpha val="20000"/>
            </a:srgb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DFA4871C-AD9A-44C5-A0FE-E42776BA0A82}"/>
              </a:ext>
            </a:extLst>
          </p:cNvPr>
          <p:cNvSpPr/>
          <p:nvPr/>
        </p:nvSpPr>
        <p:spPr>
          <a:xfrm>
            <a:off x="4049173" y="997079"/>
            <a:ext cx="2011680" cy="5628481"/>
          </a:xfrm>
          <a:prstGeom prst="rect">
            <a:avLst/>
          </a:prstGeom>
          <a:solidFill>
            <a:srgbClr val="FFC000">
              <a:alpha val="20000"/>
            </a:srgb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5EB3115F-1217-49A6-A314-CD68D7C3C347}"/>
              </a:ext>
            </a:extLst>
          </p:cNvPr>
          <p:cNvSpPr/>
          <p:nvPr/>
        </p:nvSpPr>
        <p:spPr>
          <a:xfrm>
            <a:off x="6055702" y="995091"/>
            <a:ext cx="2011680" cy="5630469"/>
          </a:xfrm>
          <a:prstGeom prst="rect">
            <a:avLst/>
          </a:prstGeom>
          <a:solidFill>
            <a:srgbClr val="00B050">
              <a:alpha val="20000"/>
            </a:srgb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64733F9B-4642-453B-9BAB-21260C7805CD}"/>
              </a:ext>
            </a:extLst>
          </p:cNvPr>
          <p:cNvSpPr/>
          <p:nvPr/>
        </p:nvSpPr>
        <p:spPr>
          <a:xfrm>
            <a:off x="2035921" y="995093"/>
            <a:ext cx="2011680" cy="5630467"/>
          </a:xfrm>
          <a:prstGeom prst="rect">
            <a:avLst/>
          </a:prstGeom>
          <a:solidFill>
            <a:srgbClr val="FF0000">
              <a:alpha val="20000"/>
            </a:srgb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phic 8" descr="Verbindingen met effen opvulling">
            <a:extLst>
              <a:ext uri="{FF2B5EF4-FFF2-40B4-BE49-F238E27FC236}">
                <a16:creationId xmlns:a16="http://schemas.microsoft.com/office/drawing/2014/main" id="{8FBA338B-8B82-4309-8559-89881E4C0A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79859" y="4671252"/>
            <a:ext cx="914400" cy="914400"/>
          </a:xfrm>
          <a:prstGeom prst="rect">
            <a:avLst/>
          </a:prstGeom>
        </p:spPr>
      </p:pic>
      <p:pic>
        <p:nvPicPr>
          <p:cNvPr id="10" name="Graphic 9" descr="Paardenbloem met effen opvulling">
            <a:extLst>
              <a:ext uri="{FF2B5EF4-FFF2-40B4-BE49-F238E27FC236}">
                <a16:creationId xmlns:a16="http://schemas.microsoft.com/office/drawing/2014/main" id="{3F15F5DC-08DB-48E8-8FA0-5CFD7EBB97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26600" y="218254"/>
            <a:ext cx="536989" cy="536989"/>
          </a:xfrm>
          <a:prstGeom prst="rect">
            <a:avLst/>
          </a:prstGeom>
        </p:spPr>
      </p:pic>
      <p:pic>
        <p:nvPicPr>
          <p:cNvPr id="11" name="Graphic 10" descr="Hoofd met radertjes met effen opvulling">
            <a:extLst>
              <a:ext uri="{FF2B5EF4-FFF2-40B4-BE49-F238E27FC236}">
                <a16:creationId xmlns:a16="http://schemas.microsoft.com/office/drawing/2014/main" id="{32BD7C08-DBA3-42E2-9379-2F11937F06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5887" y="3033545"/>
            <a:ext cx="674651" cy="674651"/>
          </a:xfrm>
          <a:prstGeom prst="rect">
            <a:avLst/>
          </a:prstGeom>
        </p:spPr>
      </p:pic>
      <p:pic>
        <p:nvPicPr>
          <p:cNvPr id="12" name="Graphic 11" descr="Gloeilamp en tandwiel met effen opvulling">
            <a:extLst>
              <a:ext uri="{FF2B5EF4-FFF2-40B4-BE49-F238E27FC236}">
                <a16:creationId xmlns:a16="http://schemas.microsoft.com/office/drawing/2014/main" id="{7422D024-77C1-4C0D-9F07-66667DD39D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560630" y="2379885"/>
            <a:ext cx="966520" cy="914400"/>
          </a:xfrm>
          <a:prstGeom prst="rect">
            <a:avLst/>
          </a:prstGeom>
        </p:spPr>
      </p:pic>
      <p:pic>
        <p:nvPicPr>
          <p:cNvPr id="13" name="Graphic 12" descr="Factory">
            <a:extLst>
              <a:ext uri="{FF2B5EF4-FFF2-40B4-BE49-F238E27FC236}">
                <a16:creationId xmlns:a16="http://schemas.microsoft.com/office/drawing/2014/main" id="{012CDBE6-2155-4231-951C-0AB5943F69A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6123" y="1256582"/>
            <a:ext cx="615308" cy="615308"/>
          </a:xfrm>
          <a:prstGeom prst="rect">
            <a:avLst/>
          </a:prstGeom>
        </p:spPr>
      </p:pic>
      <p:sp>
        <p:nvSpPr>
          <p:cNvPr id="14" name="TextBox 3">
            <a:extLst>
              <a:ext uri="{FF2B5EF4-FFF2-40B4-BE49-F238E27FC236}">
                <a16:creationId xmlns:a16="http://schemas.microsoft.com/office/drawing/2014/main" id="{1D0E5863-556C-43D3-8F76-0FA01FEBC733}"/>
              </a:ext>
            </a:extLst>
          </p:cNvPr>
          <p:cNvSpPr txBox="1"/>
          <p:nvPr/>
        </p:nvSpPr>
        <p:spPr>
          <a:xfrm>
            <a:off x="524936" y="1869497"/>
            <a:ext cx="10396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kers</a:t>
            </a:r>
          </a:p>
        </p:txBody>
      </p:sp>
      <p:sp>
        <p:nvSpPr>
          <p:cNvPr id="15" name="TextBox 3">
            <a:extLst>
              <a:ext uri="{FF2B5EF4-FFF2-40B4-BE49-F238E27FC236}">
                <a16:creationId xmlns:a16="http://schemas.microsoft.com/office/drawing/2014/main" id="{28E0F959-D1F0-42E4-813B-80CB860B235D}"/>
              </a:ext>
            </a:extLst>
          </p:cNvPr>
          <p:cNvSpPr txBox="1"/>
          <p:nvPr/>
        </p:nvSpPr>
        <p:spPr>
          <a:xfrm>
            <a:off x="2216260" y="2086312"/>
            <a:ext cx="1655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nnis borgen</a:t>
            </a: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F92337A6-77C6-4AEF-8E68-29C7EB0CB038}"/>
              </a:ext>
            </a:extLst>
          </p:cNvPr>
          <p:cNvSpPr txBox="1"/>
          <p:nvPr/>
        </p:nvSpPr>
        <p:spPr>
          <a:xfrm>
            <a:off x="2216260" y="3269297"/>
            <a:ext cx="16558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gen 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b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nnis</a:t>
            </a:r>
          </a:p>
        </p:txBody>
      </p:sp>
      <p:cxnSp>
        <p:nvCxnSpPr>
          <p:cNvPr id="17" name="Verbindingslijn: gebogen 16">
            <a:extLst>
              <a:ext uri="{FF2B5EF4-FFF2-40B4-BE49-F238E27FC236}">
                <a16:creationId xmlns:a16="http://schemas.microsoft.com/office/drawing/2014/main" id="{761EA7AF-D9B5-4512-881A-135BF88F1482}"/>
              </a:ext>
            </a:extLst>
          </p:cNvPr>
          <p:cNvCxnSpPr>
            <a:cxnSpLocks/>
            <a:stCxn id="14" idx="2"/>
          </p:cNvCxnSpPr>
          <p:nvPr/>
        </p:nvCxnSpPr>
        <p:spPr>
          <a:xfrm rot="16200000" flipH="1">
            <a:off x="1634137" y="1618695"/>
            <a:ext cx="332502" cy="1511214"/>
          </a:xfrm>
          <a:prstGeom prst="bentConnector2">
            <a:avLst/>
          </a:prstGeom>
          <a:ln w="12700"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68D527A0-5E3A-4247-9E5C-2D934DA4B52E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66" b="15981"/>
          <a:stretch/>
        </p:blipFill>
        <p:spPr>
          <a:xfrm>
            <a:off x="4313454" y="3439823"/>
            <a:ext cx="1478339" cy="914400"/>
          </a:xfrm>
          <a:prstGeom prst="rect">
            <a:avLst/>
          </a:prstGeom>
        </p:spPr>
      </p:pic>
      <p:sp>
        <p:nvSpPr>
          <p:cNvPr id="19" name="TextBox 3">
            <a:extLst>
              <a:ext uri="{FF2B5EF4-FFF2-40B4-BE49-F238E27FC236}">
                <a16:creationId xmlns:a16="http://schemas.microsoft.com/office/drawing/2014/main" id="{45B2A49B-F18B-48F6-87E7-3D4BF791DE8C}"/>
              </a:ext>
            </a:extLst>
          </p:cNvPr>
          <p:cNvSpPr txBox="1"/>
          <p:nvPr/>
        </p:nvSpPr>
        <p:spPr>
          <a:xfrm>
            <a:off x="4236404" y="3078528"/>
            <a:ext cx="16558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nnis delen</a:t>
            </a:r>
          </a:p>
        </p:txBody>
      </p:sp>
      <p:sp>
        <p:nvSpPr>
          <p:cNvPr id="20" name="TextBox 3">
            <a:extLst>
              <a:ext uri="{FF2B5EF4-FFF2-40B4-BE49-F238E27FC236}">
                <a16:creationId xmlns:a16="http://schemas.microsoft.com/office/drawing/2014/main" id="{B69FCED8-FA39-4590-A880-B5C27B74996F}"/>
              </a:ext>
            </a:extLst>
          </p:cNvPr>
          <p:cNvSpPr txBox="1"/>
          <p:nvPr/>
        </p:nvSpPr>
        <p:spPr>
          <a:xfrm>
            <a:off x="4236405" y="4467823"/>
            <a:ext cx="16558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gemene 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nnis</a:t>
            </a:r>
          </a:p>
        </p:txBody>
      </p:sp>
      <p:cxnSp>
        <p:nvCxnSpPr>
          <p:cNvPr id="21" name="Verbindingslijn: gebogen 20">
            <a:extLst>
              <a:ext uri="{FF2B5EF4-FFF2-40B4-BE49-F238E27FC236}">
                <a16:creationId xmlns:a16="http://schemas.microsoft.com/office/drawing/2014/main" id="{FAEDB833-79A5-4B99-8C81-0049D402908B}"/>
              </a:ext>
            </a:extLst>
          </p:cNvPr>
          <p:cNvCxnSpPr>
            <a:cxnSpLocks/>
          </p:cNvCxnSpPr>
          <p:nvPr/>
        </p:nvCxnSpPr>
        <p:spPr>
          <a:xfrm>
            <a:off x="3616036" y="2795923"/>
            <a:ext cx="1193411" cy="282605"/>
          </a:xfrm>
          <a:prstGeom prst="bentConnector3">
            <a:avLst>
              <a:gd name="adj1" fmla="val 100152"/>
            </a:avLst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Verbindingslijn: gebogen 21">
            <a:extLst>
              <a:ext uri="{FF2B5EF4-FFF2-40B4-BE49-F238E27FC236}">
                <a16:creationId xmlns:a16="http://schemas.microsoft.com/office/drawing/2014/main" id="{877F53E9-1372-454C-A289-86BD8C37C570}"/>
              </a:ext>
            </a:extLst>
          </p:cNvPr>
          <p:cNvCxnSpPr>
            <a:cxnSpLocks/>
            <a:stCxn id="18" idx="3"/>
            <a:endCxn id="23" idx="0"/>
          </p:cNvCxnSpPr>
          <p:nvPr/>
        </p:nvCxnSpPr>
        <p:spPr>
          <a:xfrm>
            <a:off x="5791793" y="3897023"/>
            <a:ext cx="3282724" cy="1215915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3">
            <a:extLst>
              <a:ext uri="{FF2B5EF4-FFF2-40B4-BE49-F238E27FC236}">
                <a16:creationId xmlns:a16="http://schemas.microsoft.com/office/drawing/2014/main" id="{A2E9E06C-51D7-4933-B6ED-A6BEEC803F4C}"/>
              </a:ext>
            </a:extLst>
          </p:cNvPr>
          <p:cNvSpPr txBox="1"/>
          <p:nvPr/>
        </p:nvSpPr>
        <p:spPr>
          <a:xfrm>
            <a:off x="8076870" y="5112938"/>
            <a:ext cx="1995293" cy="31005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orbeeld projecten</a:t>
            </a:r>
          </a:p>
        </p:txBody>
      </p:sp>
      <p:sp>
        <p:nvSpPr>
          <p:cNvPr id="24" name="TextBox 3">
            <a:extLst>
              <a:ext uri="{FF2B5EF4-FFF2-40B4-BE49-F238E27FC236}">
                <a16:creationId xmlns:a16="http://schemas.microsoft.com/office/drawing/2014/main" id="{7B4FFD6B-742F-406B-90B5-B2ACB176CE8D}"/>
              </a:ext>
            </a:extLst>
          </p:cNvPr>
          <p:cNvSpPr txBox="1"/>
          <p:nvPr/>
        </p:nvSpPr>
        <p:spPr>
          <a:xfrm>
            <a:off x="8230825" y="6320666"/>
            <a:ext cx="164964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ichtbaarheid</a:t>
            </a:r>
          </a:p>
        </p:txBody>
      </p:sp>
      <p:sp>
        <p:nvSpPr>
          <p:cNvPr id="25" name="TextBox 3">
            <a:extLst>
              <a:ext uri="{FF2B5EF4-FFF2-40B4-BE49-F238E27FC236}">
                <a16:creationId xmlns:a16="http://schemas.microsoft.com/office/drawing/2014/main" id="{5BCEE3C2-D3B8-4FDD-8EC4-6B92396F183C}"/>
              </a:ext>
            </a:extLst>
          </p:cNvPr>
          <p:cNvSpPr txBox="1"/>
          <p:nvPr/>
        </p:nvSpPr>
        <p:spPr>
          <a:xfrm>
            <a:off x="370341" y="3735556"/>
            <a:ext cx="14016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denkers</a:t>
            </a:r>
          </a:p>
        </p:txBody>
      </p:sp>
      <p:cxnSp>
        <p:nvCxnSpPr>
          <p:cNvPr id="26" name="Rechte verbindingslijn met pijl 25">
            <a:extLst>
              <a:ext uri="{FF2B5EF4-FFF2-40B4-BE49-F238E27FC236}">
                <a16:creationId xmlns:a16="http://schemas.microsoft.com/office/drawing/2014/main" id="{80810219-39EB-4FDC-B0D0-34ACEB69B091}"/>
              </a:ext>
            </a:extLst>
          </p:cNvPr>
          <p:cNvCxnSpPr>
            <a:cxnSpLocks/>
            <a:stCxn id="18" idx="1"/>
            <a:endCxn id="25" idx="3"/>
          </p:cNvCxnSpPr>
          <p:nvPr/>
        </p:nvCxnSpPr>
        <p:spPr>
          <a:xfrm flipH="1">
            <a:off x="1772012" y="3897023"/>
            <a:ext cx="2541442" cy="7810"/>
          </a:xfrm>
          <a:prstGeom prst="straightConnector1">
            <a:avLst/>
          </a:prstGeom>
          <a:ln w="12700">
            <a:headEnd type="triangle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3">
            <a:extLst>
              <a:ext uri="{FF2B5EF4-FFF2-40B4-BE49-F238E27FC236}">
                <a16:creationId xmlns:a16="http://schemas.microsoft.com/office/drawing/2014/main" id="{4B753724-0351-4E17-AFDC-E64290CFC64A}"/>
              </a:ext>
            </a:extLst>
          </p:cNvPr>
          <p:cNvSpPr txBox="1"/>
          <p:nvPr/>
        </p:nvSpPr>
        <p:spPr>
          <a:xfrm>
            <a:off x="6228016" y="4349280"/>
            <a:ext cx="1647668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erken</a:t>
            </a:r>
          </a:p>
        </p:txBody>
      </p:sp>
      <p:sp>
        <p:nvSpPr>
          <p:cNvPr id="28" name="TextBox 3">
            <a:extLst>
              <a:ext uri="{FF2B5EF4-FFF2-40B4-BE49-F238E27FC236}">
                <a16:creationId xmlns:a16="http://schemas.microsoft.com/office/drawing/2014/main" id="{DABCC45F-7C11-427F-9FD2-5A416C39D7E7}"/>
              </a:ext>
            </a:extLst>
          </p:cNvPr>
          <p:cNvSpPr txBox="1"/>
          <p:nvPr/>
        </p:nvSpPr>
        <p:spPr>
          <a:xfrm>
            <a:off x="6223148" y="5577732"/>
            <a:ext cx="1652536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menwerken</a:t>
            </a:r>
          </a:p>
        </p:txBody>
      </p:sp>
      <p:cxnSp>
        <p:nvCxnSpPr>
          <p:cNvPr id="29" name="Verbindingslijn: gebogen 28">
            <a:extLst>
              <a:ext uri="{FF2B5EF4-FFF2-40B4-BE49-F238E27FC236}">
                <a16:creationId xmlns:a16="http://schemas.microsoft.com/office/drawing/2014/main" id="{47F3E3B7-B45F-4E99-85C3-F09BF0E12D60}"/>
              </a:ext>
            </a:extLst>
          </p:cNvPr>
          <p:cNvCxnSpPr>
            <a:cxnSpLocks/>
          </p:cNvCxnSpPr>
          <p:nvPr/>
        </p:nvCxnSpPr>
        <p:spPr>
          <a:xfrm>
            <a:off x="5682219" y="4024031"/>
            <a:ext cx="1058200" cy="333562"/>
          </a:xfrm>
          <a:prstGeom prst="bentConnector3">
            <a:avLst>
              <a:gd name="adj1" fmla="val 99606"/>
            </a:avLst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 descr="Blockchain met effen opvulling">
            <a:extLst>
              <a:ext uri="{FF2B5EF4-FFF2-40B4-BE49-F238E27FC236}">
                <a16:creationId xmlns:a16="http://schemas.microsoft.com/office/drawing/2014/main" id="{B1AB76F1-B37B-4417-862A-84D5C8BB7C9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599080" y="5443157"/>
            <a:ext cx="914400" cy="914400"/>
          </a:xfrm>
          <a:prstGeom prst="rect">
            <a:avLst/>
          </a:prstGeom>
        </p:spPr>
      </p:pic>
      <p:pic>
        <p:nvPicPr>
          <p:cNvPr id="31" name="Graphic 30" descr="Bakstenen muur bouwen met effen opvulling">
            <a:extLst>
              <a:ext uri="{FF2B5EF4-FFF2-40B4-BE49-F238E27FC236}">
                <a16:creationId xmlns:a16="http://schemas.microsoft.com/office/drawing/2014/main" id="{9EDC2909-3C62-4643-8259-00CEAE486B8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721931" y="161523"/>
            <a:ext cx="589956" cy="589956"/>
          </a:xfrm>
          <a:prstGeom prst="rect">
            <a:avLst/>
          </a:prstGeom>
        </p:spPr>
      </p:pic>
      <p:pic>
        <p:nvPicPr>
          <p:cNvPr id="32" name="Graphic 31" descr="Zakelijke groei met effen opvulling">
            <a:extLst>
              <a:ext uri="{FF2B5EF4-FFF2-40B4-BE49-F238E27FC236}">
                <a16:creationId xmlns:a16="http://schemas.microsoft.com/office/drawing/2014/main" id="{93535021-0FF5-4AE9-8F8F-C2E9487D55E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809447" y="260231"/>
            <a:ext cx="486351" cy="486351"/>
          </a:xfrm>
          <a:prstGeom prst="rect">
            <a:avLst/>
          </a:prstGeom>
        </p:spPr>
      </p:pic>
      <p:pic>
        <p:nvPicPr>
          <p:cNvPr id="33" name="Graphic 32" descr="Agenda met effen opvulling">
            <a:extLst>
              <a:ext uri="{FF2B5EF4-FFF2-40B4-BE49-F238E27FC236}">
                <a16:creationId xmlns:a16="http://schemas.microsoft.com/office/drawing/2014/main" id="{EB91B8B8-01BB-4D1B-9D5B-1146D5DFF73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773633" y="203677"/>
            <a:ext cx="551566" cy="551566"/>
          </a:xfrm>
          <a:prstGeom prst="rect">
            <a:avLst/>
          </a:prstGeom>
        </p:spPr>
      </p:pic>
      <p:pic>
        <p:nvPicPr>
          <p:cNvPr id="34" name="Graphic 33" descr="Exponentiële grafiek met effen opvulling">
            <a:extLst>
              <a:ext uri="{FF2B5EF4-FFF2-40B4-BE49-F238E27FC236}">
                <a16:creationId xmlns:a16="http://schemas.microsoft.com/office/drawing/2014/main" id="{CCFB22AE-DBC0-487E-BC14-F5CA6FF3971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088804" y="218254"/>
            <a:ext cx="612670" cy="612670"/>
          </a:xfrm>
          <a:prstGeom prst="rect">
            <a:avLst/>
          </a:prstGeom>
        </p:spPr>
      </p:pic>
      <p:cxnSp>
        <p:nvCxnSpPr>
          <p:cNvPr id="35" name="Verbindingslijn: gebogen 34">
            <a:extLst>
              <a:ext uri="{FF2B5EF4-FFF2-40B4-BE49-F238E27FC236}">
                <a16:creationId xmlns:a16="http://schemas.microsoft.com/office/drawing/2014/main" id="{08C11524-822E-43D6-8D09-6293E637C2AF}"/>
              </a:ext>
            </a:extLst>
          </p:cNvPr>
          <p:cNvCxnSpPr>
            <a:cxnSpLocks/>
            <a:stCxn id="48" idx="3"/>
          </p:cNvCxnSpPr>
          <p:nvPr/>
        </p:nvCxnSpPr>
        <p:spPr>
          <a:xfrm>
            <a:off x="1564625" y="1895286"/>
            <a:ext cx="5354217" cy="2453994"/>
          </a:xfrm>
          <a:prstGeom prst="bentConnector3">
            <a:avLst>
              <a:gd name="adj1" fmla="val 99837"/>
            </a:avLst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kstvak 35">
            <a:extLst>
              <a:ext uri="{FF2B5EF4-FFF2-40B4-BE49-F238E27FC236}">
                <a16:creationId xmlns:a16="http://schemas.microsoft.com/office/drawing/2014/main" id="{CD8A3CA0-D785-42DE-B8A3-B89B845EE9ED}"/>
              </a:ext>
            </a:extLst>
          </p:cNvPr>
          <p:cNvSpPr txBox="1"/>
          <p:nvPr/>
        </p:nvSpPr>
        <p:spPr>
          <a:xfrm>
            <a:off x="10490200" y="377250"/>
            <a:ext cx="440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=</a:t>
            </a:r>
          </a:p>
        </p:txBody>
      </p:sp>
      <p:sp>
        <p:nvSpPr>
          <p:cNvPr id="37" name="Tekstvak 36">
            <a:extLst>
              <a:ext uri="{FF2B5EF4-FFF2-40B4-BE49-F238E27FC236}">
                <a16:creationId xmlns:a16="http://schemas.microsoft.com/office/drawing/2014/main" id="{F3E9C862-CDC1-4A98-8927-4089F60ADFA2}"/>
              </a:ext>
            </a:extLst>
          </p:cNvPr>
          <p:cNvSpPr txBox="1"/>
          <p:nvPr/>
        </p:nvSpPr>
        <p:spPr>
          <a:xfrm>
            <a:off x="3894717" y="382443"/>
            <a:ext cx="440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38" name="Tekstvak 37">
            <a:extLst>
              <a:ext uri="{FF2B5EF4-FFF2-40B4-BE49-F238E27FC236}">
                <a16:creationId xmlns:a16="http://schemas.microsoft.com/office/drawing/2014/main" id="{2EA6B731-1C56-4683-AD8D-83599AC1376A}"/>
              </a:ext>
            </a:extLst>
          </p:cNvPr>
          <p:cNvSpPr txBox="1"/>
          <p:nvPr/>
        </p:nvSpPr>
        <p:spPr>
          <a:xfrm>
            <a:off x="5909936" y="377044"/>
            <a:ext cx="440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sp>
        <p:nvSpPr>
          <p:cNvPr id="39" name="Tekstvak 38">
            <a:extLst>
              <a:ext uri="{FF2B5EF4-FFF2-40B4-BE49-F238E27FC236}">
                <a16:creationId xmlns:a16="http://schemas.microsoft.com/office/drawing/2014/main" id="{E0DF6490-0973-4CAC-966E-C10C505F7231}"/>
              </a:ext>
            </a:extLst>
          </p:cNvPr>
          <p:cNvSpPr txBox="1"/>
          <p:nvPr/>
        </p:nvSpPr>
        <p:spPr>
          <a:xfrm>
            <a:off x="7912605" y="375056"/>
            <a:ext cx="4402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</a:t>
            </a:r>
          </a:p>
        </p:txBody>
      </p:sp>
      <p:cxnSp>
        <p:nvCxnSpPr>
          <p:cNvPr id="40" name="Verbindingslijn: gebogen 39">
            <a:extLst>
              <a:ext uri="{FF2B5EF4-FFF2-40B4-BE49-F238E27FC236}">
                <a16:creationId xmlns:a16="http://schemas.microsoft.com/office/drawing/2014/main" id="{07B6C41B-CCE2-4F92-8F69-65B5B2FD9A55}"/>
              </a:ext>
            </a:extLst>
          </p:cNvPr>
          <p:cNvCxnSpPr>
            <a:cxnSpLocks/>
            <a:endCxn id="9" idx="1"/>
          </p:cNvCxnSpPr>
          <p:nvPr/>
        </p:nvCxnSpPr>
        <p:spPr>
          <a:xfrm rot="16200000" flipH="1">
            <a:off x="3294191" y="1842783"/>
            <a:ext cx="1062655" cy="5508682"/>
          </a:xfrm>
          <a:prstGeom prst="bentConnector2">
            <a:avLst/>
          </a:prstGeom>
          <a:ln w="12700"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Verbindingslijn: gebogen 40">
            <a:extLst>
              <a:ext uri="{FF2B5EF4-FFF2-40B4-BE49-F238E27FC236}">
                <a16:creationId xmlns:a16="http://schemas.microsoft.com/office/drawing/2014/main" id="{92DCA335-416A-450C-8684-1A19A2012E3E}"/>
              </a:ext>
            </a:extLst>
          </p:cNvPr>
          <p:cNvCxnSpPr>
            <a:cxnSpLocks/>
          </p:cNvCxnSpPr>
          <p:nvPr/>
        </p:nvCxnSpPr>
        <p:spPr>
          <a:xfrm rot="16200000" flipH="1">
            <a:off x="3897066" y="1223281"/>
            <a:ext cx="1876125" cy="7527903"/>
          </a:xfrm>
          <a:prstGeom prst="bentConnector2">
            <a:avLst/>
          </a:prstGeom>
          <a:ln w="12700"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ingslijn: gebogen 41">
            <a:extLst>
              <a:ext uri="{FF2B5EF4-FFF2-40B4-BE49-F238E27FC236}">
                <a16:creationId xmlns:a16="http://schemas.microsoft.com/office/drawing/2014/main" id="{C40D6C6F-387F-41A8-A5A8-D53821E64A39}"/>
              </a:ext>
            </a:extLst>
          </p:cNvPr>
          <p:cNvCxnSpPr>
            <a:cxnSpLocks/>
            <a:stCxn id="11" idx="0"/>
            <a:endCxn id="12" idx="1"/>
          </p:cNvCxnSpPr>
          <p:nvPr/>
        </p:nvCxnSpPr>
        <p:spPr>
          <a:xfrm rot="5400000" flipH="1" flipV="1">
            <a:off x="1708691" y="2181607"/>
            <a:ext cx="196460" cy="1507417"/>
          </a:xfrm>
          <a:prstGeom prst="bentConnector2">
            <a:avLst/>
          </a:prstGeom>
          <a:ln w="12700"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Verbindingslijn: gebogen 42">
            <a:extLst>
              <a:ext uri="{FF2B5EF4-FFF2-40B4-BE49-F238E27FC236}">
                <a16:creationId xmlns:a16="http://schemas.microsoft.com/office/drawing/2014/main" id="{2BDFB259-F4ED-4224-A9DA-4D6216949DD8}"/>
              </a:ext>
            </a:extLst>
          </p:cNvPr>
          <p:cNvCxnSpPr>
            <a:cxnSpLocks/>
            <a:stCxn id="14" idx="3"/>
            <a:endCxn id="53" idx="0"/>
          </p:cNvCxnSpPr>
          <p:nvPr/>
        </p:nvCxnSpPr>
        <p:spPr>
          <a:xfrm>
            <a:off x="1564625" y="2038774"/>
            <a:ext cx="3494937" cy="1039754"/>
          </a:xfrm>
          <a:prstGeom prst="bentConnector2">
            <a:avLst/>
          </a:prstGeom>
          <a:ln w="12700"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hoek 47">
            <a:extLst>
              <a:ext uri="{FF2B5EF4-FFF2-40B4-BE49-F238E27FC236}">
                <a16:creationId xmlns:a16="http://schemas.microsoft.com/office/drawing/2014/main" id="{7AB093B0-C325-428B-A691-6E3E49198AA9}"/>
              </a:ext>
            </a:extLst>
          </p:cNvPr>
          <p:cNvSpPr/>
          <p:nvPr/>
        </p:nvSpPr>
        <p:spPr>
          <a:xfrm>
            <a:off x="1023284" y="1642163"/>
            <a:ext cx="541341" cy="5062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9" name="Afbeelding 48">
            <a:hlinkClick r:id="rId23"/>
            <a:extLst>
              <a:ext uri="{FF2B5EF4-FFF2-40B4-BE49-F238E27FC236}">
                <a16:creationId xmlns:a16="http://schemas.microsoft.com/office/drawing/2014/main" id="{E02A43F0-BF1B-4844-9221-9BBD8660CD67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109627" y="1170952"/>
            <a:ext cx="1863375" cy="273925"/>
          </a:xfrm>
          <a:prstGeom prst="rect">
            <a:avLst/>
          </a:prstGeom>
        </p:spPr>
      </p:pic>
      <p:pic>
        <p:nvPicPr>
          <p:cNvPr id="50" name="Afbeelding 49">
            <a:hlinkClick r:id="rId25"/>
            <a:extLst>
              <a:ext uri="{FF2B5EF4-FFF2-40B4-BE49-F238E27FC236}">
                <a16:creationId xmlns:a16="http://schemas.microsoft.com/office/drawing/2014/main" id="{B5835E46-DAFA-45A6-AFA3-E7053BF20C7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4518296" y="1173362"/>
            <a:ext cx="1060079" cy="384586"/>
          </a:xfrm>
          <a:prstGeom prst="rect">
            <a:avLst/>
          </a:prstGeom>
        </p:spPr>
      </p:pic>
      <p:pic>
        <p:nvPicPr>
          <p:cNvPr id="51" name="Afbeelding 50">
            <a:hlinkClick r:id="rId27"/>
            <a:extLst>
              <a:ext uri="{FF2B5EF4-FFF2-40B4-BE49-F238E27FC236}">
                <a16:creationId xmlns:a16="http://schemas.microsoft.com/office/drawing/2014/main" id="{73C62B64-66EA-480A-997D-AEDDE9F7110E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259615" y="1176391"/>
            <a:ext cx="1611500" cy="278707"/>
          </a:xfrm>
          <a:prstGeom prst="rect">
            <a:avLst/>
          </a:prstGeom>
        </p:spPr>
      </p:pic>
      <p:pic>
        <p:nvPicPr>
          <p:cNvPr id="52" name="Afbeelding 51">
            <a:hlinkClick r:id="rId29"/>
            <a:extLst>
              <a:ext uri="{FF2B5EF4-FFF2-40B4-BE49-F238E27FC236}">
                <a16:creationId xmlns:a16="http://schemas.microsoft.com/office/drawing/2014/main" id="{2F528080-940D-4FDE-A13D-226D5C907865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162504" y="1171641"/>
            <a:ext cx="1814500" cy="288206"/>
          </a:xfrm>
          <a:prstGeom prst="rect">
            <a:avLst/>
          </a:prstGeom>
        </p:spPr>
      </p:pic>
      <p:sp>
        <p:nvSpPr>
          <p:cNvPr id="53" name="Rechthoek 52">
            <a:extLst>
              <a:ext uri="{FF2B5EF4-FFF2-40B4-BE49-F238E27FC236}">
                <a16:creationId xmlns:a16="http://schemas.microsoft.com/office/drawing/2014/main" id="{70795085-6E75-4CEA-8823-A8FE07810795}"/>
              </a:ext>
            </a:extLst>
          </p:cNvPr>
          <p:cNvSpPr/>
          <p:nvPr/>
        </p:nvSpPr>
        <p:spPr>
          <a:xfrm>
            <a:off x="4711700" y="3078528"/>
            <a:ext cx="695724" cy="337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Tekstvak 53">
            <a:extLst>
              <a:ext uri="{FF2B5EF4-FFF2-40B4-BE49-F238E27FC236}">
                <a16:creationId xmlns:a16="http://schemas.microsoft.com/office/drawing/2014/main" id="{2488CF5D-1CFD-4AC0-9EE1-72A826FB9C60}"/>
              </a:ext>
            </a:extLst>
          </p:cNvPr>
          <p:cNvSpPr txBox="1"/>
          <p:nvPr/>
        </p:nvSpPr>
        <p:spPr>
          <a:xfrm>
            <a:off x="2035921" y="716612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rgen</a:t>
            </a:r>
          </a:p>
        </p:txBody>
      </p:sp>
      <p:sp>
        <p:nvSpPr>
          <p:cNvPr id="55" name="Tekstvak 54">
            <a:extLst>
              <a:ext uri="{FF2B5EF4-FFF2-40B4-BE49-F238E27FC236}">
                <a16:creationId xmlns:a16="http://schemas.microsoft.com/office/drawing/2014/main" id="{8BBE68D3-79DD-4B87-84F5-EF106D2CC938}"/>
              </a:ext>
            </a:extLst>
          </p:cNvPr>
          <p:cNvSpPr txBox="1"/>
          <p:nvPr/>
        </p:nvSpPr>
        <p:spPr>
          <a:xfrm>
            <a:off x="4045812" y="711669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len</a:t>
            </a:r>
          </a:p>
        </p:txBody>
      </p:sp>
      <p:sp>
        <p:nvSpPr>
          <p:cNvPr id="56" name="Tekstvak 55">
            <a:extLst>
              <a:ext uri="{FF2B5EF4-FFF2-40B4-BE49-F238E27FC236}">
                <a16:creationId xmlns:a16="http://schemas.microsoft.com/office/drawing/2014/main" id="{69D167DD-374C-43F3-A28D-F5F881AE21DD}"/>
              </a:ext>
            </a:extLst>
          </p:cNvPr>
          <p:cNvSpPr txBox="1"/>
          <p:nvPr/>
        </p:nvSpPr>
        <p:spPr>
          <a:xfrm>
            <a:off x="6064427" y="711669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tellen</a:t>
            </a:r>
          </a:p>
        </p:txBody>
      </p:sp>
      <p:sp>
        <p:nvSpPr>
          <p:cNvPr id="57" name="Tekstvak 56">
            <a:extLst>
              <a:ext uri="{FF2B5EF4-FFF2-40B4-BE49-F238E27FC236}">
                <a16:creationId xmlns:a16="http://schemas.microsoft.com/office/drawing/2014/main" id="{D0700DCB-C419-4FEE-8476-28A3B8CEB497}"/>
              </a:ext>
            </a:extLst>
          </p:cNvPr>
          <p:cNvSpPr txBox="1"/>
          <p:nvPr/>
        </p:nvSpPr>
        <p:spPr>
          <a:xfrm>
            <a:off x="8064349" y="721752"/>
            <a:ext cx="20116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nen</a:t>
            </a:r>
          </a:p>
        </p:txBody>
      </p:sp>
      <p:sp>
        <p:nvSpPr>
          <p:cNvPr id="58" name="Tekstvak 57">
            <a:extLst>
              <a:ext uri="{FF2B5EF4-FFF2-40B4-BE49-F238E27FC236}">
                <a16:creationId xmlns:a16="http://schemas.microsoft.com/office/drawing/2014/main" id="{908B6EBF-5BA4-4429-BBA7-3BBFFC31CA7B}"/>
              </a:ext>
            </a:extLst>
          </p:cNvPr>
          <p:cNvSpPr txBox="1"/>
          <p:nvPr/>
        </p:nvSpPr>
        <p:spPr>
          <a:xfrm>
            <a:off x="10720388" y="711669"/>
            <a:ext cx="1374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eien</a:t>
            </a:r>
          </a:p>
        </p:txBody>
      </p:sp>
      <p:pic>
        <p:nvPicPr>
          <p:cNvPr id="59" name="Graphic 58" descr="Streepjescode met effen opvulling">
            <a:extLst>
              <a:ext uri="{FF2B5EF4-FFF2-40B4-BE49-F238E27FC236}">
                <a16:creationId xmlns:a16="http://schemas.microsoft.com/office/drawing/2014/main" id="{B6B7C024-CA53-4822-B571-F3FEB6CA3D4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2153852" y="2904807"/>
            <a:ext cx="371489" cy="371489"/>
          </a:xfrm>
          <a:prstGeom prst="rect">
            <a:avLst/>
          </a:prstGeom>
        </p:spPr>
      </p:pic>
      <p:sp>
        <p:nvSpPr>
          <p:cNvPr id="60" name="TextBox 3">
            <a:extLst>
              <a:ext uri="{FF2B5EF4-FFF2-40B4-BE49-F238E27FC236}">
                <a16:creationId xmlns:a16="http://schemas.microsoft.com/office/drawing/2014/main" id="{26A304B4-6AF3-4746-9B0A-0C9A7B7013C3}"/>
              </a:ext>
            </a:extLst>
          </p:cNvPr>
          <p:cNvSpPr txBox="1"/>
          <p:nvPr/>
        </p:nvSpPr>
        <p:spPr>
          <a:xfrm>
            <a:off x="2080642" y="3144154"/>
            <a:ext cx="504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SC</a:t>
            </a:r>
            <a:br>
              <a:rPr kumimoji="0" lang="nl-NL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nl-NL" sz="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an</a:t>
            </a:r>
          </a:p>
        </p:txBody>
      </p:sp>
      <p:pic>
        <p:nvPicPr>
          <p:cNvPr id="61" name="Graphic 60" descr="Knoop in touw met effen opvulling">
            <a:extLst>
              <a:ext uri="{FF2B5EF4-FFF2-40B4-BE49-F238E27FC236}">
                <a16:creationId xmlns:a16="http://schemas.microsoft.com/office/drawing/2014/main" id="{B1AC8B38-DAE3-484E-8B29-CF667761B52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29317" y="2279530"/>
            <a:ext cx="579325" cy="579325"/>
          </a:xfrm>
          <a:prstGeom prst="rect">
            <a:avLst/>
          </a:prstGeom>
        </p:spPr>
      </p:pic>
      <p:cxnSp>
        <p:nvCxnSpPr>
          <p:cNvPr id="62" name="Verbindingslijn: gebogen 61">
            <a:extLst>
              <a:ext uri="{FF2B5EF4-FFF2-40B4-BE49-F238E27FC236}">
                <a16:creationId xmlns:a16="http://schemas.microsoft.com/office/drawing/2014/main" id="{2EC41250-F2CD-4A26-881D-F0B1A93C57CA}"/>
              </a:ext>
            </a:extLst>
          </p:cNvPr>
          <p:cNvCxnSpPr>
            <a:cxnSpLocks/>
            <a:stCxn id="61" idx="0"/>
            <a:endCxn id="13" idx="1"/>
          </p:cNvCxnSpPr>
          <p:nvPr/>
        </p:nvCxnSpPr>
        <p:spPr>
          <a:xfrm rot="5400000" flipH="1" flipV="1">
            <a:off x="219904" y="1763312"/>
            <a:ext cx="715294" cy="317143"/>
          </a:xfrm>
          <a:prstGeom prst="bentConnector2">
            <a:avLst/>
          </a:prstGeom>
          <a:ln w="12700"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Verbindingslijn: gebogen 62">
            <a:extLst>
              <a:ext uri="{FF2B5EF4-FFF2-40B4-BE49-F238E27FC236}">
                <a16:creationId xmlns:a16="http://schemas.microsoft.com/office/drawing/2014/main" id="{54729778-65A7-4786-83BD-28074667AEC3}"/>
              </a:ext>
            </a:extLst>
          </p:cNvPr>
          <p:cNvCxnSpPr>
            <a:cxnSpLocks/>
            <a:stCxn id="61" idx="2"/>
            <a:endCxn id="11" idx="1"/>
          </p:cNvCxnSpPr>
          <p:nvPr/>
        </p:nvCxnSpPr>
        <p:spPr>
          <a:xfrm rot="16200000" flipH="1">
            <a:off x="311425" y="2966409"/>
            <a:ext cx="512016" cy="296907"/>
          </a:xfrm>
          <a:prstGeom prst="bentConnector2">
            <a:avLst/>
          </a:prstGeom>
          <a:ln w="12700"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22822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0E5E32-2DE2-489C-9373-353DFA2A4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l-NL" sz="3600" b="1" dirty="0">
                <a:latin typeface="+mn-lt"/>
              </a:rPr>
              <a:t>KSC Academy hulp in kennisborging</a:t>
            </a:r>
            <a:br>
              <a:rPr lang="nl-NL" sz="3200" b="1" dirty="0">
                <a:latin typeface="+mn-lt"/>
              </a:rPr>
            </a:br>
            <a:r>
              <a:rPr lang="nl-NL" sz="2700" b="1" i="1" dirty="0">
                <a:latin typeface="+mn-lt"/>
              </a:rPr>
              <a:t>HET AANBOD</a:t>
            </a:r>
            <a:endParaRPr lang="en-US" sz="2700" i="1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B1548412-793B-4FB9-8791-BFDBC8754E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fld id="{088EB633-4A45-4AEB-BF8F-4F0AEB6ED8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57A9CC3-C4B7-4A96-A136-04E54E5A160C}"/>
              </a:ext>
            </a:extLst>
          </p:cNvPr>
          <p:cNvCxnSpPr/>
          <p:nvPr/>
        </p:nvCxnSpPr>
        <p:spPr>
          <a:xfrm flipV="1">
            <a:off x="838200" y="1359877"/>
            <a:ext cx="5257800" cy="4228"/>
          </a:xfrm>
          <a:prstGeom prst="line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jdelijke aanduiding voor inhoud 5">
            <a:extLst>
              <a:ext uri="{FF2B5EF4-FFF2-40B4-BE49-F238E27FC236}">
                <a16:creationId xmlns:a16="http://schemas.microsoft.com/office/drawing/2014/main" id="{C39BCEF9-04C2-44FD-84FC-8FC14E17D0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59877"/>
            <a:ext cx="10867768" cy="4817086"/>
          </a:xfrm>
        </p:spPr>
        <p:txBody>
          <a:bodyPr>
            <a:normAutofit/>
          </a:bodyPr>
          <a:lstStyle/>
          <a:p>
            <a:endParaRPr lang="nl-NL" sz="2000" b="1" i="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Barlow" panose="00000500000000000000" pitchFamily="2" charset="0"/>
            </a:endParaRPr>
          </a:p>
          <a:p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Informatie delen over </a:t>
            </a:r>
            <a:r>
              <a:rPr lang="nl-NL" sz="2000" b="1" i="0" cap="all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kennismanagement</a:t>
            </a:r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 op website (Gesloten en open deel)</a:t>
            </a:r>
            <a:b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</a:br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en organiseren van bijeenkomsten</a:t>
            </a:r>
          </a:p>
          <a:p>
            <a:r>
              <a:rPr lang="nl-N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Aanbieden </a:t>
            </a:r>
            <a:r>
              <a:rPr lang="nl-N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QuickScan </a:t>
            </a:r>
            <a:r>
              <a:rPr lang="nl-N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(</a:t>
            </a:r>
            <a:r>
              <a:rPr lang="nl-NL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zelf </a:t>
            </a:r>
            <a:r>
              <a:rPr lang="nl-N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analyse)</a:t>
            </a:r>
          </a:p>
          <a:p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Praktische </a:t>
            </a:r>
            <a:r>
              <a:rPr lang="nl-NL" sz="20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coaching</a:t>
            </a:r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 en </a:t>
            </a:r>
            <a:r>
              <a:rPr lang="nl-NL" sz="20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advies</a:t>
            </a:r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 rondom </a:t>
            </a:r>
            <a:r>
              <a:rPr lang="nl-NL" sz="2000" i="0" u="sng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kennismanagement</a:t>
            </a:r>
          </a:p>
          <a:p>
            <a:pPr lvl="1"/>
            <a:r>
              <a:rPr lang="nl-NL"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Inbedding in </a:t>
            </a:r>
            <a:r>
              <a:rPr lang="nl-NL" sz="1700" i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strategisch plan</a:t>
            </a:r>
          </a:p>
          <a:p>
            <a:pPr lvl="1"/>
            <a:r>
              <a:rPr lang="nl-NL" sz="17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Hoe kennis intern te </a:t>
            </a:r>
            <a:r>
              <a:rPr lang="nl-NL" sz="1700" i="1" u="sng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borgen</a:t>
            </a:r>
          </a:p>
          <a:p>
            <a:pPr lvl="1"/>
            <a:r>
              <a:rPr lang="nl-NL" sz="17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Hoe kennis intern &amp; extern te </a:t>
            </a:r>
            <a:r>
              <a:rPr lang="nl-NL" sz="1700" i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delen</a:t>
            </a:r>
          </a:p>
          <a:p>
            <a:pPr lvl="1"/>
            <a:r>
              <a:rPr lang="nl-NL" sz="17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De “</a:t>
            </a:r>
            <a:r>
              <a:rPr lang="nl-NL" sz="17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do’s</a:t>
            </a:r>
            <a:r>
              <a:rPr lang="nl-NL" sz="17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 &amp; </a:t>
            </a:r>
            <a:r>
              <a:rPr lang="en-US" sz="17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don'ts</a:t>
            </a:r>
            <a:r>
              <a:rPr lang="nl-NL" sz="17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” van het delen van kennis in de keten</a:t>
            </a:r>
          </a:p>
          <a:p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Door ervaren </a:t>
            </a:r>
            <a:r>
              <a:rPr lang="nl-NL" sz="2000" b="1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L&amp;D</a:t>
            </a:r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 </a:t>
            </a:r>
            <a:r>
              <a:rPr lang="nl-NL" sz="16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(Learning &amp; development) </a:t>
            </a:r>
            <a:r>
              <a:rPr lang="nl-NL" sz="2000" i="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Barlow" panose="00000500000000000000" pitchFamily="2" charset="0"/>
              </a:rPr>
              <a:t>professionals</a:t>
            </a:r>
          </a:p>
          <a:p>
            <a:r>
              <a:rPr lang="nl-NL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Marktconform</a:t>
            </a:r>
            <a:r>
              <a:rPr lang="nl-N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 aanbod waarbij KSC-leden 10% korting krijgen</a:t>
            </a:r>
          </a:p>
          <a:p>
            <a:r>
              <a:rPr lang="nl-N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Lidmaatschap KSC EU 500,00 per organisatie voor 2022 (“</a:t>
            </a:r>
            <a:r>
              <a:rPr lang="nl-NL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early</a:t>
            </a:r>
            <a:r>
              <a:rPr lang="nl-N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 </a:t>
            </a:r>
            <a:r>
              <a:rPr lang="nl-NL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bird</a:t>
            </a:r>
            <a:r>
              <a:rPr lang="nl-NL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Barlow" panose="00000500000000000000" pitchFamily="2" charset="0"/>
              </a:rPr>
              <a:t>” instaptarief).</a:t>
            </a:r>
          </a:p>
        </p:txBody>
      </p:sp>
    </p:spTree>
    <p:extLst>
      <p:ext uri="{BB962C8B-B14F-4D97-AF65-F5344CB8AC3E}">
        <p14:creationId xmlns:p14="http://schemas.microsoft.com/office/powerpoint/2010/main" val="3100603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186EA6EB-D52F-4F3C-85DA-ABC31E90078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 anchorCtr="0">
            <a:normAutofit/>
          </a:bodyPr>
          <a:lstStyle/>
          <a:p>
            <a:r>
              <a:rPr lang="nl-NL" b="1" dirty="0">
                <a:solidFill>
                  <a:schemeClr val="accent2">
                    <a:lumMod val="75000"/>
                  </a:schemeClr>
                </a:solidFill>
              </a:rPr>
              <a:t>Van kennis naar wijsheid</a:t>
            </a:r>
          </a:p>
        </p:txBody>
      </p:sp>
      <p:sp>
        <p:nvSpPr>
          <p:cNvPr id="6" name="Ondertitel 5">
            <a:extLst>
              <a:ext uri="{FF2B5EF4-FFF2-40B4-BE49-F238E27FC236}">
                <a16:creationId xmlns:a16="http://schemas.microsoft.com/office/drawing/2014/main" id="{703142CF-FA85-4EC7-BC21-6FFAF4776DC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anchor="ctr" anchorCtr="0"/>
          <a:lstStyle/>
          <a:p>
            <a:r>
              <a:rPr lang="nl-NL" dirty="0">
                <a:solidFill>
                  <a:schemeClr val="bg1"/>
                </a:solidFill>
                <a:latin typeface="Barlow" panose="00000500000000000000" pitchFamily="2" charset="0"/>
              </a:rPr>
              <a:t>Wij wensen u een gezellige Netwerk Borrel.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661301D-5F80-45A9-BB89-AD9F31280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8EB633-4A45-4AEB-BF8F-4F0AEB6ED81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45A27299-FBF7-4EBB-BB54-EE9F840194A1}"/>
              </a:ext>
            </a:extLst>
          </p:cNvPr>
          <p:cNvSpPr txBox="1"/>
          <p:nvPr/>
        </p:nvSpPr>
        <p:spPr>
          <a:xfrm>
            <a:off x="3786554" y="5160743"/>
            <a:ext cx="46775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info@knowledgesharingcentre.com info@kscAcademy.nl</a:t>
            </a:r>
          </a:p>
        </p:txBody>
      </p:sp>
    </p:spTree>
    <p:extLst>
      <p:ext uri="{BB962C8B-B14F-4D97-AF65-F5344CB8AC3E}">
        <p14:creationId xmlns:p14="http://schemas.microsoft.com/office/powerpoint/2010/main" val="33323949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IAAAAAAAAAAwAAAAMAAAAA/////wQAP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wRQt7sLoaZOlafO5WrIIL0FAAAAAAADAAAAAwADAAAAAQADAAIA////////BAAAAAMAEAALNfPQmSfRt0GoL2WANaowaQUAAAAB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ARQt7sLoaZOlafO5WrIIL0DRGF0YQAbAAAABExpbmtlZFNoYXBlRGF0YQAFAAAAAAACTmFtZQAZAAAATGlua2VkU2hhcGVzRGF0YVByb3BlcnR5ABBWZXJzaW9uAAAAAAAJTGFzdFdyaXRlAIUzkiyAAQAAAAEA/////8YAxgAAAAVfaWQAEAAAAAQ189CZJ9G3QagvZYA1qjBpA0RhdGEAUwAAAAhQcmVzZW50YXRpb25TY2FubmVkRm9yTGlua2VkU2hhcGVzAAECTnVtYmVyRm9ybWF0U2VwYXJhdG9yTW9kZQAKAAAAQXV0b21hdGljAAACTmFtZQAkAAAATGlua2VkU2hhcGVQcmVzZW50YXRpb25TZXR0aW5nc0RhdGEAEFZlcnNpb24AAAAAAAlMYXN0V3JpdGUArDOSLI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Aangepast ontwerp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D26F6241784A479831767805419198" ma:contentTypeVersion="8" ma:contentTypeDescription="Create a new document." ma:contentTypeScope="" ma:versionID="bd5e60b243395a5a9fb163c513c56222">
  <xsd:schema xmlns:xsd="http://www.w3.org/2001/XMLSchema" xmlns:xs="http://www.w3.org/2001/XMLSchema" xmlns:p="http://schemas.microsoft.com/office/2006/metadata/properties" xmlns:ns2="0beded02-6731-49b6-9df4-8620feb9594b" targetNamespace="http://schemas.microsoft.com/office/2006/metadata/properties" ma:root="true" ma:fieldsID="c9554919ecae39befa776499ccea8559" ns2:_="">
    <xsd:import namespace="0beded02-6731-49b6-9df4-8620feb959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eded02-6731-49b6-9df4-8620feb9594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A8D185-4D05-49D8-8BC6-42149823C5D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3D09C80-3BC4-4A48-A133-2A55DD7A3A9F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0beded02-6731-49b6-9df4-8620feb9594b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4F4D034-A67C-4CF6-8891-D044130D966E}">
  <ds:schemaRefs>
    <ds:schemaRef ds:uri="0beded02-6731-49b6-9df4-8620feb959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630</TotalTime>
  <Words>322</Words>
  <Application>Microsoft Office PowerPoint</Application>
  <PresentationFormat>Breedbeeld</PresentationFormat>
  <Paragraphs>66</Paragraphs>
  <Slides>8</Slides>
  <Notes>0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Diatitels</vt:lpstr>
      </vt:variant>
      <vt:variant>
        <vt:i4>8</vt:i4>
      </vt:variant>
    </vt:vector>
  </HeadingPairs>
  <TitlesOfParts>
    <vt:vector size="14" baseType="lpstr">
      <vt:lpstr>Arial</vt:lpstr>
      <vt:lpstr>Barlow</vt:lpstr>
      <vt:lpstr>Calibri</vt:lpstr>
      <vt:lpstr>Calibri Light</vt:lpstr>
      <vt:lpstr>Kantoorthema</vt:lpstr>
      <vt:lpstr>2_Aangepast ontwerp</vt:lpstr>
      <vt:lpstr>10 Mei 2022  “Hoe belangrijk is kennis voor uw organisatie?”</vt:lpstr>
      <vt:lpstr>10 Mei 2022  “Hoe belangrijk is kennis voor uw organisatie?”</vt:lpstr>
      <vt:lpstr>PowerPoint-presentatie</vt:lpstr>
      <vt:lpstr>KSC Academy hulp in kennisborging </vt:lpstr>
      <vt:lpstr>Overview Knowledge Sharing Centre</vt:lpstr>
      <vt:lpstr>PowerPoint-presentatie</vt:lpstr>
      <vt:lpstr>KSC Academy hulp in kennisborging HET AANBOD</vt:lpstr>
      <vt:lpstr>Van kennis naar wijshei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0 Mei 2022 “Hoe belangrijk is kennis voor uw organisatie?”</dc:title>
  <dc:creator>Arno Sprengers</dc:creator>
  <cp:lastModifiedBy>Arno Sprengers</cp:lastModifiedBy>
  <cp:revision>9</cp:revision>
  <dcterms:created xsi:type="dcterms:W3CDTF">2022-04-15T09:33:39Z</dcterms:created>
  <dcterms:modified xsi:type="dcterms:W3CDTF">2022-05-12T05:4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D26F6241784A479831767805419198</vt:lpwstr>
  </property>
  <property fmtid="{D5CDD505-2E9C-101B-9397-08002B2CF9AE}" pid="3" name="MSIP_Label_229eea9c-5281-4377-b6bc-afc76db9d7b4_Enabled">
    <vt:lpwstr>true</vt:lpwstr>
  </property>
  <property fmtid="{D5CDD505-2E9C-101B-9397-08002B2CF9AE}" pid="4" name="MSIP_Label_229eea9c-5281-4377-b6bc-afc76db9d7b4_SetDate">
    <vt:lpwstr>2022-05-12T05:45:19Z</vt:lpwstr>
  </property>
  <property fmtid="{D5CDD505-2E9C-101B-9397-08002B2CF9AE}" pid="5" name="MSIP_Label_229eea9c-5281-4377-b6bc-afc76db9d7b4_Method">
    <vt:lpwstr>Privileged</vt:lpwstr>
  </property>
  <property fmtid="{D5CDD505-2E9C-101B-9397-08002B2CF9AE}" pid="6" name="MSIP_Label_229eea9c-5281-4377-b6bc-afc76db9d7b4_Name">
    <vt:lpwstr>229eea9c-5281-4377-b6bc-afc76db9d7b4</vt:lpwstr>
  </property>
  <property fmtid="{D5CDD505-2E9C-101B-9397-08002B2CF9AE}" pid="7" name="MSIP_Label_229eea9c-5281-4377-b6bc-afc76db9d7b4_SiteId">
    <vt:lpwstr>af73baa8-f594-4eb2-a39d-93e96cad61fc</vt:lpwstr>
  </property>
  <property fmtid="{D5CDD505-2E9C-101B-9397-08002B2CF9AE}" pid="8" name="MSIP_Label_229eea9c-5281-4377-b6bc-afc76db9d7b4_ActionId">
    <vt:lpwstr>02592307-b946-413e-b39c-08bb4a464d11</vt:lpwstr>
  </property>
  <property fmtid="{D5CDD505-2E9C-101B-9397-08002B2CF9AE}" pid="9" name="MSIP_Label_229eea9c-5281-4377-b6bc-afc76db9d7b4_ContentBits">
    <vt:lpwstr>2</vt:lpwstr>
  </property>
</Properties>
</file>